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" ContentType="image/tif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6" r:id="rId2"/>
  </p:sldMasterIdLst>
  <p:notesMasterIdLst>
    <p:notesMasterId r:id="rId60"/>
  </p:notesMasterIdLst>
  <p:sldIdLst>
    <p:sldId id="455" r:id="rId3"/>
    <p:sldId id="672" r:id="rId4"/>
    <p:sldId id="673" r:id="rId5"/>
    <p:sldId id="674" r:id="rId6"/>
    <p:sldId id="675" r:id="rId7"/>
    <p:sldId id="676" r:id="rId8"/>
    <p:sldId id="677" r:id="rId9"/>
    <p:sldId id="678" r:id="rId10"/>
    <p:sldId id="679" r:id="rId11"/>
    <p:sldId id="680" r:id="rId12"/>
    <p:sldId id="616" r:id="rId13"/>
    <p:sldId id="639" r:id="rId14"/>
    <p:sldId id="624" r:id="rId15"/>
    <p:sldId id="626" r:id="rId16"/>
    <p:sldId id="628" r:id="rId17"/>
    <p:sldId id="629" r:id="rId18"/>
    <p:sldId id="630" r:id="rId19"/>
    <p:sldId id="631" r:id="rId20"/>
    <p:sldId id="632" r:id="rId21"/>
    <p:sldId id="633" r:id="rId22"/>
    <p:sldId id="634" r:id="rId23"/>
    <p:sldId id="648" r:id="rId24"/>
    <p:sldId id="649" r:id="rId25"/>
    <p:sldId id="650" r:id="rId26"/>
    <p:sldId id="651" r:id="rId27"/>
    <p:sldId id="666" r:id="rId28"/>
    <p:sldId id="668" r:id="rId29"/>
    <p:sldId id="667" r:id="rId30"/>
    <p:sldId id="665" r:id="rId31"/>
    <p:sldId id="652" r:id="rId32"/>
    <p:sldId id="653" r:id="rId33"/>
    <p:sldId id="654" r:id="rId34"/>
    <p:sldId id="658" r:id="rId35"/>
    <p:sldId id="669" r:id="rId36"/>
    <p:sldId id="621" r:id="rId37"/>
    <p:sldId id="640" r:id="rId38"/>
    <p:sldId id="659" r:id="rId39"/>
    <p:sldId id="660" r:id="rId40"/>
    <p:sldId id="661" r:id="rId41"/>
    <p:sldId id="662" r:id="rId42"/>
    <p:sldId id="664" r:id="rId43"/>
    <p:sldId id="663" r:id="rId44"/>
    <p:sldId id="627" r:id="rId45"/>
    <p:sldId id="681" r:id="rId46"/>
    <p:sldId id="682" r:id="rId47"/>
    <p:sldId id="670" r:id="rId48"/>
    <p:sldId id="671" r:id="rId49"/>
    <p:sldId id="684" r:id="rId50"/>
    <p:sldId id="685" r:id="rId51"/>
    <p:sldId id="686" r:id="rId52"/>
    <p:sldId id="687" r:id="rId53"/>
    <p:sldId id="622" r:id="rId54"/>
    <p:sldId id="645" r:id="rId55"/>
    <p:sldId id="646" r:id="rId56"/>
    <p:sldId id="647" r:id="rId57"/>
    <p:sldId id="524" r:id="rId58"/>
    <p:sldId id="641" r:id="rId5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>
      <p:ext uri="{19B8F6BF-5375-455C-9EA6-DF929625EA0E}">
        <p15:presenceInfo xmlns:p15="http://schemas.microsoft.com/office/powerpoint/2012/main" userId="Marina" providerId="None"/>
      </p:ext>
    </p:extLst>
  </p:cmAuthor>
  <p:cmAuthor id="2" name="Leilas" initials="L" lastIdx="11" clrIdx="1">
    <p:extLst>
      <p:ext uri="{19B8F6BF-5375-455C-9EA6-DF929625EA0E}">
        <p15:presenceInfo xmlns:p15="http://schemas.microsoft.com/office/powerpoint/2012/main" userId="Leilas" providerId="None"/>
      </p:ext>
    </p:extLst>
  </p:cmAuthor>
  <p:cmAuthor id="3" name="Admin" initials="AAA" lastIdx="2" clrIdx="2">
    <p:extLst>
      <p:ext uri="{19B8F6BF-5375-455C-9EA6-DF929625EA0E}">
        <p15:presenceInfo xmlns:p15="http://schemas.microsoft.com/office/powerpoint/2012/main" userId="Admin" providerId="None"/>
      </p:ext>
    </p:extLst>
  </p:cmAuthor>
  <p:cmAuthor id="4" name="Шинко Елена Юрьевна" initials="ШЕЮ" lastIdx="37" clrIdx="3">
    <p:extLst>
      <p:ext uri="{19B8F6BF-5375-455C-9EA6-DF929625EA0E}">
        <p15:presenceInfo xmlns:p15="http://schemas.microsoft.com/office/powerpoint/2012/main" userId="S-1-5-21-4226584364-21557989-1436132917-153086" providerId="AD"/>
      </p:ext>
    </p:extLst>
  </p:cmAuthor>
  <p:cmAuthor id="5" name="Яковлев Е.С." initials="ЯЕС" lastIdx="19" clrIdx="4">
    <p:extLst>
      <p:ext uri="{19B8F6BF-5375-455C-9EA6-DF929625EA0E}">
        <p15:presenceInfo xmlns:p15="http://schemas.microsoft.com/office/powerpoint/2012/main" userId="Яковлев Е.С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950D"/>
    <a:srgbClr val="F0F8FA"/>
    <a:srgbClr val="2D2B8D"/>
    <a:srgbClr val="0073B8"/>
    <a:srgbClr val="9ED442"/>
    <a:srgbClr val="40A7E1"/>
    <a:srgbClr val="F5B144"/>
    <a:srgbClr val="F6DB7E"/>
    <a:srgbClr val="4383DD"/>
    <a:srgbClr val="79BF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32" autoAdjust="0"/>
    <p:restoredTop sz="95126" autoAdjust="0"/>
  </p:normalViewPr>
  <p:slideViewPr>
    <p:cSldViewPr snapToGrid="0">
      <p:cViewPr varScale="1">
        <p:scale>
          <a:sx n="111" d="100"/>
          <a:sy n="111" d="100"/>
        </p:scale>
        <p:origin x="390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9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2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5" Type="http://schemas.openxmlformats.org/officeDocument/2006/relationships/slide" Target="slides/slide3.xml"/><Relationship Id="rId61" Type="http://schemas.openxmlformats.org/officeDocument/2006/relationships/commentAuthors" Target="commentAuthor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ЕНГ</c:v>
                </c:pt>
              </c:strCache>
            </c:strRef>
          </c:tx>
          <c:spPr>
            <a:ln>
              <a:solidFill>
                <a:schemeClr val="tx1">
                  <a:lumMod val="95000"/>
                  <a:lumOff val="5000"/>
                </a:schemeClr>
              </a:solidFill>
            </a:ln>
          </c:spPr>
          <c:explosion val="7"/>
          <c:dPt>
            <c:idx val="0"/>
            <c:bubble3D val="0"/>
            <c:spPr>
              <a:solidFill>
                <a:srgbClr val="7030A0"/>
              </a:solidFill>
              <a:ln w="190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innerShdw blurRad="114300">
                  <a:schemeClr val="accent1"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tx1">
                    <a:lumMod val="95000"/>
                    <a:lumOff val="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A52E-42DE-9661-8D4786D73A18}"/>
              </c:ext>
            </c:extLst>
          </c:dPt>
          <c:dPt>
            <c:idx val="1"/>
            <c:bubble3D val="0"/>
            <c:explosion val="18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innerShdw blurRad="114300">
                  <a:schemeClr val="accent2"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tx1">
                    <a:lumMod val="95000"/>
                    <a:lumOff val="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52E-42DE-9661-8D4786D73A18}"/>
              </c:ext>
            </c:extLst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innerShdw blurRad="114300">
                  <a:schemeClr val="accent3"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tx1">
                    <a:lumMod val="95000"/>
                    <a:lumOff val="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52E-42DE-9661-8D4786D73A18}"/>
              </c:ext>
            </c:extLst>
          </c:dPt>
          <c:dPt>
            <c:idx val="3"/>
            <c:bubble3D val="0"/>
            <c:spPr>
              <a:solidFill>
                <a:schemeClr val="accent4">
                  <a:alpha val="90000"/>
                </a:schemeClr>
              </a:solidFill>
              <a:ln w="190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innerShdw blurRad="114300">
                  <a:schemeClr val="accent4"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tx1">
                    <a:lumMod val="95000"/>
                    <a:lumOff val="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A52E-42DE-9661-8D4786D73A18}"/>
              </c:ext>
            </c:extLst>
          </c:dPt>
          <c:dLbls>
            <c:dLbl>
              <c:idx val="0"/>
              <c:layout>
                <c:manualLayout>
                  <c:x val="-0.21011450885748292"/>
                  <c:y val="0.13510629592999074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330" b="1" i="0" u="none" strike="noStrike" kern="1200" baseline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fld id="{15333A0A-02DB-4DCA-9214-1AA48504A2D0}" type="CATEGORYNAME">
                      <a:rPr lang="ru-RU" sz="2400" b="1" baseline="0" dirty="0">
                        <a:solidFill>
                          <a:srgbClr val="7030A0"/>
                        </a:solidFill>
                      </a:rPr>
                      <a:pPr>
                        <a:defRPr b="1"/>
                      </a:pPr>
                      <a:t>[ИМЯ КАТЕГОРИИ]</a:t>
                    </a:fld>
                    <a:endParaRPr lang="ru-RU"/>
                  </a:p>
                </c:rich>
              </c:tx>
              <c:spPr>
                <a:solidFill>
                  <a:srgbClr val="B17ED8">
                    <a:alpha val="90980"/>
                  </a:srgbClr>
                </a:solidFill>
                <a:ln w="12700" cap="flat" cmpd="sng" algn="ctr">
                  <a:solidFill>
                    <a:srgbClr val="7030A0"/>
                  </a:solidFill>
                  <a:round/>
                </a:ln>
                <a:effectLst>
                  <a:glow rad="127000">
                    <a:srgbClr val="B17ED8"/>
                  </a:glo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30" b="1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788313702718201"/>
                      <c:h val="0.1528945960683507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A52E-42DE-9661-8D4786D73A18}"/>
                </c:ext>
              </c:extLst>
            </c:dLbl>
            <c:dLbl>
              <c:idx val="1"/>
              <c:layout>
                <c:manualLayout>
                  <c:x val="-8.5938115157480309E-3"/>
                  <c:y val="-0.2479439131432141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sz="1330" b="1" i="0" u="none" strike="noStrike" kern="1200" baseline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defRPr>
                    </a:pPr>
                    <a:fld id="{A04F2AB7-B8DC-453D-AC14-F5EA4BDC7E91}" type="CATEGORYNAME">
                      <a:rPr lang="ru-RU" sz="2400" b="1" baseline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" panose="020F0502020204030204" pitchFamily="34" charset="0"/>
                      </a:rPr>
                      <a:pPr algn="ctr">
                        <a:defRPr b="1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</a:defRPr>
                      </a:pPr>
                      <a:t>[ИМЯ КАТЕГОРИИ]</a:t>
                    </a:fld>
                    <a:endParaRPr lang="ru-RU"/>
                  </a:p>
                </c:rich>
              </c:tx>
              <c:spPr>
                <a:solidFill>
                  <a:schemeClr val="accent6">
                    <a:lumMod val="40000"/>
                    <a:lumOff val="60000"/>
                  </a:schemeClr>
                </a:solidFill>
                <a:ln w="12700" cap="flat" cmpd="sng" algn="ctr">
                  <a:solidFill>
                    <a:schemeClr val="accent6">
                      <a:lumMod val="50000"/>
                    </a:schemeClr>
                  </a:solidFill>
                  <a:round/>
                </a:ln>
                <a:effectLst>
                  <a:glow rad="127000">
                    <a:schemeClr val="accent6">
                      <a:lumMod val="50000"/>
                    </a:schemeClr>
                  </a:glow>
                </a:effectLst>
              </c:spPr>
              <c:txPr>
                <a:bodyPr rot="0" spcFirstLastPara="1" vertOverflow="clip" horzOverflow="clip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sz="1330" b="1" i="0" u="none" strike="noStrike" kern="1200" baseline="0">
                      <a:solidFill>
                        <a:schemeClr val="accent1"/>
                      </a:solidFill>
                      <a:effectLst/>
                      <a:latin typeface="Calibri" panose="020F0502020204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214849901574797"/>
                      <c:h val="9.278905679201175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52E-42DE-9661-8D4786D73A18}"/>
                </c:ext>
              </c:extLst>
            </c:dLbl>
            <c:dLbl>
              <c:idx val="2"/>
              <c:layout>
                <c:manualLayout>
                  <c:x val="0.22773925485803198"/>
                  <c:y val="0.13897499105737698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330" b="0" i="0" u="none" strike="noStrike" kern="1200" baseline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fld id="{374662C5-11D4-4CBF-9346-38D7591B209F}" type="CATEGORYNAME">
                      <a:rPr lang="ru-RU" sz="2400" b="1" baseline="0" dirty="0">
                        <a:solidFill>
                          <a:schemeClr val="accent2">
                            <a:lumMod val="50000"/>
                          </a:schemeClr>
                        </a:solidFill>
                      </a:rPr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ИМЯ КАТЕГОРИИ]</a:t>
                    </a:fld>
                    <a:endParaRPr lang="ru-RU"/>
                  </a:p>
                </c:rich>
              </c:tx>
              <c:spPr>
                <a:solidFill>
                  <a:schemeClr val="accent2">
                    <a:lumMod val="40000"/>
                    <a:lumOff val="60000"/>
                    <a:alpha val="90000"/>
                  </a:schemeClr>
                </a:solidFill>
                <a:ln w="12700" cap="flat" cmpd="sng" algn="ctr">
                  <a:solidFill>
                    <a:schemeClr val="accent2">
                      <a:lumMod val="50000"/>
                    </a:schemeClr>
                  </a:solidFill>
                  <a:round/>
                </a:ln>
                <a:effectLst>
                  <a:glow rad="127000">
                    <a:schemeClr val="accent2">
                      <a:lumMod val="60000"/>
                      <a:lumOff val="40000"/>
                    </a:schemeClr>
                  </a:glo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3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607070705128483"/>
                      <c:h val="0.1924745159502110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52E-42DE-9661-8D4786D73A18}"/>
                </c:ext>
              </c:extLst>
            </c:dLbl>
            <c:dLbl>
              <c:idx val="3"/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6">
                      <a:lumMod val="50000"/>
                    </a:schemeClr>
                  </a:solidFill>
                  <a:round/>
                </a:ln>
                <a:effectLst>
                  <a:glow rad="127000">
                    <a:schemeClr val="accent6">
                      <a:lumMod val="50000"/>
                    </a:schemeClr>
                  </a:glo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baseline="0">
                      <a:solidFill>
                        <a:schemeClr val="accent4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A52E-42DE-9661-8D4786D73A18}"/>
                </c:ext>
              </c:extLst>
            </c:dLbl>
            <c:spPr>
              <a:ln>
                <a:solidFill>
                  <a:schemeClr val="accent6">
                    <a:lumMod val="50000"/>
                  </a:schemeClr>
                </a:solidFill>
              </a:ln>
              <a:effectLst>
                <a:glow rad="127000">
                  <a:schemeClr val="accent6">
                    <a:lumMod val="50000"/>
                  </a:schemeClr>
                </a:glow>
              </a:effectLst>
            </c:spPr>
            <c:dLblPos val="in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3"/>
                <c:pt idx="0">
                  <c:v>Физические системы</c:v>
                </c:pt>
                <c:pt idx="1">
                  <c:v>Живые системы</c:v>
                </c:pt>
                <c:pt idx="2">
                  <c:v>Земля и космические системы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33.299999999999997</c:v>
                </c:pt>
                <c:pt idx="1">
                  <c:v>33.299999999999997</c:v>
                </c:pt>
                <c:pt idx="2">
                  <c:v>33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2E-42DE-9661-8D4786D73A18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3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330" b="0" i="0" u="none" strike="noStrike" kern="1200" baseline="0">
      <a:effectLst/>
    </cs:defRPr>
    <cs:bodyPr rot="0" spcFirstLastPara="1" vertOverflow="clip" horzOverflow="clip" vert="horz" wrap="square" lIns="38100" tIns="19050" rIns="38100" bIns="19050" anchor="ctr" anchorCtr="1">
      <a:spAutoFit/>
    </cs:bodyPr>
  </cs:dataLabel>
  <cs:dataLabelCallout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330" b="0" i="0" u="none" strike="noStrike" kern="1200" baseline="0">
      <a:effectLst/>
    </cs:defRPr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tx1"/>
    </cs:fontRef>
    <cs:spPr>
      <a:solidFill>
        <a:schemeClr val="phClr">
          <a:alpha val="90000"/>
        </a:schemeClr>
      </a:solidFill>
      <a:ln w="19050">
        <a:solidFill>
          <a:schemeClr val="phClr">
            <a:lumMod val="75000"/>
          </a:schemeClr>
        </a:solidFill>
      </a:ln>
      <a:effectLst>
        <a:innerShdw blurRad="114300">
          <a:schemeClr val="phClr">
            <a:lumMod val="75000"/>
          </a:schemeClr>
        </a:innerShdw>
      </a:effectLst>
      <a:scene3d>
        <a:camera prst="orthographicFront"/>
        <a:lightRig rig="threePt" dir="t"/>
      </a:scene3d>
      <a:sp3d contourW="19050" prstMaterial="flat">
        <a:contourClr>
          <a:schemeClr val="accent4">
            <a:lumMod val="75000"/>
          </a:schemeClr>
        </a:contourClr>
      </a:sp3d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11.05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77385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00600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02692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68895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58819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52490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54275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56172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18546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1804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06470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562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38796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39926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44861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853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22572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06369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500871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5346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74228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253168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174024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70876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750959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77892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717664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036855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04430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15056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0140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69029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087708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975931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5062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063419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112742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883138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129488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014315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909620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032745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0233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73163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981227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813192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343145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50640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58636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1318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0858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1975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4" name="Прямоугольник"/>
          <p:cNvSpPr/>
          <p:nvPr/>
        </p:nvSpPr>
        <p:spPr>
          <a:xfrm>
            <a:off x="-1390" y="-5954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600"/>
          </a:p>
        </p:txBody>
      </p:sp>
      <p:sp>
        <p:nvSpPr>
          <p:cNvPr id="25" name="Прямоугольник"/>
          <p:cNvSpPr/>
          <p:nvPr/>
        </p:nvSpPr>
        <p:spPr>
          <a:xfrm>
            <a:off x="-1389" y="6546820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rcRect l="39743" r="39743" b="36077"/>
          <a:stretch>
            <a:fillRect/>
          </a:stretch>
        </p:blipFill>
        <p:spPr>
          <a:xfrm>
            <a:off x="11386743" y="476085"/>
            <a:ext cx="523745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967907" y="6500813"/>
            <a:ext cx="247257" cy="255588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410766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14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6944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385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12541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64103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245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0823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8918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768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41310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06171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65773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837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11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11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" y="0"/>
            <a:ext cx="1757966" cy="6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853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6.jpeg"/><Relationship Id="rId4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slide" Target="slide36.xml"/><Relationship Id="rId3" Type="http://schemas.openxmlformats.org/officeDocument/2006/relationships/image" Target="../media/image5.emf"/><Relationship Id="rId7" Type="http://schemas.openxmlformats.org/officeDocument/2006/relationships/slide" Target="slide17.xml"/><Relationship Id="rId12" Type="http://schemas.openxmlformats.org/officeDocument/2006/relationships/slide" Target="slide3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Relationship Id="rId6" Type="http://schemas.openxmlformats.org/officeDocument/2006/relationships/slide" Target="slide16.xml"/><Relationship Id="rId11" Type="http://schemas.openxmlformats.org/officeDocument/2006/relationships/slide" Target="slide21.xml"/><Relationship Id="rId5" Type="http://schemas.openxmlformats.org/officeDocument/2006/relationships/slide" Target="slide15.xml"/><Relationship Id="rId15" Type="http://schemas.openxmlformats.org/officeDocument/2006/relationships/slide" Target="slide52.xml"/><Relationship Id="rId10" Type="http://schemas.openxmlformats.org/officeDocument/2006/relationships/slide" Target="slide20.xml"/><Relationship Id="rId4" Type="http://schemas.openxmlformats.org/officeDocument/2006/relationships/slide" Target="slide14.xml"/><Relationship Id="rId9" Type="http://schemas.openxmlformats.org/officeDocument/2006/relationships/slide" Target="slide19.xml"/><Relationship Id="rId14" Type="http://schemas.openxmlformats.org/officeDocument/2006/relationships/slide" Target="slide4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slide" Target="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slide" Target="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slide" Target="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slide" Target="slide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slide" Target="slide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slide" Target="sl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slide" Target="slide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slide" Target="slide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" Target="slide17.xml"/><Relationship Id="rId13" Type="http://schemas.openxmlformats.org/officeDocument/2006/relationships/slide" Target="slide35.xml"/><Relationship Id="rId3" Type="http://schemas.openxmlformats.org/officeDocument/2006/relationships/image" Target="../media/image5.emf"/><Relationship Id="rId7" Type="http://schemas.openxmlformats.org/officeDocument/2006/relationships/slide" Target="slide16.xml"/><Relationship Id="rId12" Type="http://schemas.openxmlformats.org/officeDocument/2006/relationships/slide" Target="slide21.xml"/><Relationship Id="rId2" Type="http://schemas.openxmlformats.org/officeDocument/2006/relationships/notesSlide" Target="../notesSlides/notesSlide26.xml"/><Relationship Id="rId16" Type="http://schemas.openxmlformats.org/officeDocument/2006/relationships/slide" Target="slide52.xml"/><Relationship Id="rId1" Type="http://schemas.openxmlformats.org/officeDocument/2006/relationships/slideLayout" Target="../slideLayouts/slideLayout25.xml"/><Relationship Id="rId6" Type="http://schemas.openxmlformats.org/officeDocument/2006/relationships/slide" Target="slide15.xml"/><Relationship Id="rId11" Type="http://schemas.openxmlformats.org/officeDocument/2006/relationships/slide" Target="slide20.xml"/><Relationship Id="rId5" Type="http://schemas.openxmlformats.org/officeDocument/2006/relationships/slide" Target="slide14.xml"/><Relationship Id="rId15" Type="http://schemas.openxmlformats.org/officeDocument/2006/relationships/slide" Target="slide43.xml"/><Relationship Id="rId10" Type="http://schemas.openxmlformats.org/officeDocument/2006/relationships/slide" Target="slide19.xml"/><Relationship Id="rId4" Type="http://schemas.openxmlformats.org/officeDocument/2006/relationships/image" Target="../media/image52.png"/><Relationship Id="rId9" Type="http://schemas.openxmlformats.org/officeDocument/2006/relationships/slide" Target="slide18.xml"/><Relationship Id="rId14" Type="http://schemas.openxmlformats.org/officeDocument/2006/relationships/slide" Target="slide3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slide" Target="slide19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5.jpeg"/><Relationship Id="rId5" Type="http://schemas.openxmlformats.org/officeDocument/2006/relationships/image" Target="../media/image54.jpg"/><Relationship Id="rId4" Type="http://schemas.openxmlformats.org/officeDocument/2006/relationships/image" Target="../media/image53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.xml"/><Relationship Id="rId6" Type="http://schemas.openxmlformats.org/officeDocument/2006/relationships/slide" Target="slide36.xml"/><Relationship Id="rId5" Type="http://schemas.openxmlformats.org/officeDocument/2006/relationships/slide" Target="slide18.xml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.xml"/><Relationship Id="rId5" Type="http://schemas.openxmlformats.org/officeDocument/2006/relationships/slide" Target="slide16.xml"/><Relationship Id="rId4" Type="http://schemas.openxmlformats.org/officeDocument/2006/relationships/slide" Target="slide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slide" Target="slide15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5.xml"/><Relationship Id="rId6" Type="http://schemas.openxmlformats.org/officeDocument/2006/relationships/slide" Target="slide14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5.xml"/><Relationship Id="rId4" Type="http://schemas.openxmlformats.org/officeDocument/2006/relationships/slide" Target="slide5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.emf"/><Relationship Id="rId7" Type="http://schemas.openxmlformats.org/officeDocument/2006/relationships/slide" Target="slide17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7.png"/><Relationship Id="rId5" Type="http://schemas.openxmlformats.org/officeDocument/2006/relationships/slide" Target="slide16.xml"/><Relationship Id="rId4" Type="http://schemas.openxmlformats.org/officeDocument/2006/relationships/image" Target="../media/image59.png"/><Relationship Id="rId9" Type="http://schemas.openxmlformats.org/officeDocument/2006/relationships/slide" Target="slide4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slide" Target="slide36.xml"/><Relationship Id="rId3" Type="http://schemas.openxmlformats.org/officeDocument/2006/relationships/image" Target="../media/image5.emf"/><Relationship Id="rId7" Type="http://schemas.openxmlformats.org/officeDocument/2006/relationships/slide" Target="slide17.xml"/><Relationship Id="rId12" Type="http://schemas.openxmlformats.org/officeDocument/2006/relationships/slide" Target="slide35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5.xml"/><Relationship Id="rId6" Type="http://schemas.openxmlformats.org/officeDocument/2006/relationships/slide" Target="slide16.xml"/><Relationship Id="rId11" Type="http://schemas.openxmlformats.org/officeDocument/2006/relationships/slide" Target="slide21.xml"/><Relationship Id="rId5" Type="http://schemas.openxmlformats.org/officeDocument/2006/relationships/slide" Target="slide15.xml"/><Relationship Id="rId15" Type="http://schemas.openxmlformats.org/officeDocument/2006/relationships/slide" Target="slide52.xml"/><Relationship Id="rId10" Type="http://schemas.openxmlformats.org/officeDocument/2006/relationships/slide" Target="slide20.xml"/><Relationship Id="rId4" Type="http://schemas.openxmlformats.org/officeDocument/2006/relationships/slide" Target="slide14.xml"/><Relationship Id="rId9" Type="http://schemas.openxmlformats.org/officeDocument/2006/relationships/slide" Target="slide19.xml"/><Relationship Id="rId14" Type="http://schemas.openxmlformats.org/officeDocument/2006/relationships/slide" Target="slide4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61.png"/><Relationship Id="rId5" Type="http://schemas.openxmlformats.org/officeDocument/2006/relationships/image" Target="../media/image47.png"/><Relationship Id="rId4" Type="http://schemas.openxmlformats.org/officeDocument/2006/relationships/image" Target="../media/image46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6.jpeg"/><Relationship Id="rId5" Type="http://schemas.openxmlformats.org/officeDocument/2006/relationships/image" Target="../media/image63.jpeg"/><Relationship Id="rId4" Type="http://schemas.openxmlformats.org/officeDocument/2006/relationships/image" Target="../media/image62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4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eg"/><Relationship Id="rId13" Type="http://schemas.openxmlformats.org/officeDocument/2006/relationships/image" Target="../media/image84.gif"/><Relationship Id="rId3" Type="http://schemas.openxmlformats.org/officeDocument/2006/relationships/image" Target="../media/image5.emf"/><Relationship Id="rId7" Type="http://schemas.openxmlformats.org/officeDocument/2006/relationships/image" Target="../media/image79.png"/><Relationship Id="rId12" Type="http://schemas.openxmlformats.org/officeDocument/2006/relationships/image" Target="../media/image8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s://shop.prosv.ru/katalog#/orderby=5&amp;sFilters=13!3000;" TargetMode="External"/><Relationship Id="rId11" Type="http://schemas.openxmlformats.org/officeDocument/2006/relationships/hyperlink" Target="https://media.prosv.ru/content/?situations=true" TargetMode="External"/><Relationship Id="rId5" Type="http://schemas.openxmlformats.org/officeDocument/2006/relationships/hyperlink" Target="https://shop.prosv.ru/katalog#/orderby=5&amp;sFilters=13!67611;" TargetMode="External"/><Relationship Id="rId10" Type="http://schemas.openxmlformats.org/officeDocument/2006/relationships/image" Target="../media/image82.png"/><Relationship Id="rId4" Type="http://schemas.openxmlformats.org/officeDocument/2006/relationships/hyperlink" Target="https://shop.prosv.ru/katalog#/orderby=5&amp;sFilters=13!81288;" TargetMode="External"/><Relationship Id="rId9" Type="http://schemas.openxmlformats.org/officeDocument/2006/relationships/image" Target="../media/image81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jpeg"/><Relationship Id="rId13" Type="http://schemas.openxmlformats.org/officeDocument/2006/relationships/image" Target="../media/image83.png"/><Relationship Id="rId3" Type="http://schemas.openxmlformats.org/officeDocument/2006/relationships/image" Target="../media/image85.jpeg"/><Relationship Id="rId7" Type="http://schemas.openxmlformats.org/officeDocument/2006/relationships/image" Target="../media/image89.jpeg"/><Relationship Id="rId12" Type="http://schemas.openxmlformats.org/officeDocument/2006/relationships/hyperlink" Target="https://prosv.ru/pages/pisa.html" TargetMode="External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8.jpeg"/><Relationship Id="rId11" Type="http://schemas.openxmlformats.org/officeDocument/2006/relationships/image" Target="../media/image93.gif"/><Relationship Id="rId5" Type="http://schemas.openxmlformats.org/officeDocument/2006/relationships/image" Target="../media/image87.jpeg"/><Relationship Id="rId10" Type="http://schemas.openxmlformats.org/officeDocument/2006/relationships/image" Target="../media/image92.jpeg"/><Relationship Id="rId4" Type="http://schemas.openxmlformats.org/officeDocument/2006/relationships/image" Target="../media/image86.jpeg"/><Relationship Id="rId9" Type="http://schemas.openxmlformats.org/officeDocument/2006/relationships/image" Target="../media/image91.jpe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jpeg"/><Relationship Id="rId3" Type="http://schemas.openxmlformats.org/officeDocument/2006/relationships/image" Target="../media/image94.png"/><Relationship Id="rId7" Type="http://schemas.openxmlformats.org/officeDocument/2006/relationships/image" Target="../media/image98.jpe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7.png"/><Relationship Id="rId11" Type="http://schemas.openxmlformats.org/officeDocument/2006/relationships/image" Target="../media/image83.png"/><Relationship Id="rId5" Type="http://schemas.openxmlformats.org/officeDocument/2006/relationships/image" Target="../media/image96.png"/><Relationship Id="rId10" Type="http://schemas.openxmlformats.org/officeDocument/2006/relationships/hyperlink" Target="https://prosv.ru/pages/pisa.html" TargetMode="External"/><Relationship Id="rId4" Type="http://schemas.openxmlformats.org/officeDocument/2006/relationships/image" Target="../media/image95.png"/><Relationship Id="rId9" Type="http://schemas.openxmlformats.org/officeDocument/2006/relationships/image" Target="../media/image100.gif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101.png"/><Relationship Id="rId7" Type="http://schemas.openxmlformats.org/officeDocument/2006/relationships/image" Target="../media/image103.png"/><Relationship Id="rId12" Type="http://schemas.openxmlformats.org/officeDocument/2006/relationships/image" Target="../media/image83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2.png"/><Relationship Id="rId11" Type="http://schemas.openxmlformats.org/officeDocument/2006/relationships/hyperlink" Target="https://dev.media.prosv.ru/content/?situations=true" TargetMode="External"/><Relationship Id="rId5" Type="http://schemas.openxmlformats.org/officeDocument/2006/relationships/image" Target="../media/image11.svg"/><Relationship Id="rId10" Type="http://schemas.openxmlformats.org/officeDocument/2006/relationships/hyperlink" Target="https://ashe.graphics/preview/prosv/media/fg.html" TargetMode="External"/><Relationship Id="rId4" Type="http://schemas.openxmlformats.org/officeDocument/2006/relationships/image" Target="../media/image102.png"/><Relationship Id="rId9" Type="http://schemas.openxmlformats.org/officeDocument/2006/relationships/image" Target="../media/image105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uchitel.club/" TargetMode="External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3.png"/><Relationship Id="rId4" Type="http://schemas.openxmlformats.org/officeDocument/2006/relationships/image" Target="../media/image106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13" Type="http://schemas.openxmlformats.org/officeDocument/2006/relationships/image" Target="../media/image110.pn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12" Type="http://schemas.openxmlformats.org/officeDocument/2006/relationships/image" Target="../media/image10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8.png"/><Relationship Id="rId5" Type="http://schemas.openxmlformats.org/officeDocument/2006/relationships/notesSlide" Target="../notesSlides/notesSlide53.xml"/><Relationship Id="rId15" Type="http://schemas.openxmlformats.org/officeDocument/2006/relationships/image" Target="../media/image112.jpeg"/><Relationship Id="rId10" Type="http://schemas.openxmlformats.org/officeDocument/2006/relationships/hyperlink" Target="mailto:OLitvinov@prosv.ru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7.gif"/><Relationship Id="rId14" Type="http://schemas.openxmlformats.org/officeDocument/2006/relationships/image" Target="../media/image1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5.emf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5.emf"/><Relationship Id="rId7" Type="http://schemas.openxmlformats.org/officeDocument/2006/relationships/image" Target="../media/image1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4.jpeg"/><Relationship Id="rId5" Type="http://schemas.openxmlformats.org/officeDocument/2006/relationships/image" Target="../media/image13.jp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5.emf"/><Relationship Id="rId7" Type="http://schemas.openxmlformats.org/officeDocument/2006/relationships/image" Target="../media/image15.jpg"/><Relationship Id="rId12" Type="http://schemas.openxmlformats.org/officeDocument/2006/relationships/image" Target="../media/image24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9.jpeg"/><Relationship Id="rId11" Type="http://schemas.openxmlformats.org/officeDocument/2006/relationships/image" Target="../media/image23.jpg"/><Relationship Id="rId5" Type="http://schemas.openxmlformats.org/officeDocument/2006/relationships/image" Target="../media/image13.jpg"/><Relationship Id="rId10" Type="http://schemas.openxmlformats.org/officeDocument/2006/relationships/image" Target="../media/image22.jpeg"/><Relationship Id="rId4" Type="http://schemas.openxmlformats.org/officeDocument/2006/relationships/image" Target="../media/image18.jpeg"/><Relationship Id="rId9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85954" y="4175011"/>
            <a:ext cx="11152672" cy="997196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600" b="1" dirty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ешаем задачи по естественно-научной грамотности и креативному мышлению</a:t>
            </a:r>
            <a:endParaRPr lang="ru-RU" sz="2800" dirty="0">
              <a:solidFill>
                <a:srgbClr val="2D2B8D"/>
              </a:solidFill>
              <a:latin typeface="Cambria" panose="02040503050406030204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Прямоугольник 63"/>
          <p:cNvSpPr/>
          <p:nvPr/>
        </p:nvSpPr>
        <p:spPr>
          <a:xfrm>
            <a:off x="7817563" y="5172207"/>
            <a:ext cx="406310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b="1" dirty="0">
                <a:solidFill>
                  <a:srgbClr val="002060"/>
                </a:solidFill>
              </a:rPr>
              <a:t>Ведущий методист </a:t>
            </a:r>
            <a:r>
              <a:rPr lang="ru-RU" b="1" dirty="0" smtClean="0">
                <a:solidFill>
                  <a:srgbClr val="002060"/>
                </a:solidFill>
              </a:rPr>
              <a:t>ГК «Просвещение»</a:t>
            </a:r>
          </a:p>
          <a:p>
            <a:pPr algn="r"/>
            <a:r>
              <a:rPr lang="ru-RU" b="1" dirty="0" smtClean="0">
                <a:solidFill>
                  <a:srgbClr val="002060"/>
                </a:solidFill>
              </a:rPr>
              <a:t>Литвинов </a:t>
            </a:r>
            <a:r>
              <a:rPr lang="ru-RU" b="1" dirty="0">
                <a:solidFill>
                  <a:srgbClr val="002060"/>
                </a:solidFill>
              </a:rPr>
              <a:t>Олег Андреевич</a:t>
            </a:r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20173" y="108504"/>
            <a:ext cx="82082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стественно-научная грамотность (содержательное знание)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1" name="Диаграмма 10"/>
          <p:cNvGraphicFramePr/>
          <p:nvPr>
            <p:extLst/>
          </p:nvPr>
        </p:nvGraphicFramePr>
        <p:xfrm>
          <a:off x="1061883" y="517668"/>
          <a:ext cx="9881419" cy="61838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Скругленный прямоугольник 2"/>
          <p:cNvSpPr/>
          <p:nvPr/>
        </p:nvSpPr>
        <p:spPr>
          <a:xfrm>
            <a:off x="1919377" y="897148"/>
            <a:ext cx="1772729" cy="439947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ЕОГРАФ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97147" y="1664074"/>
            <a:ext cx="1772729" cy="439947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ИЗИКА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57237" y="2556619"/>
            <a:ext cx="1772729" cy="439947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КОЛОГ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897147" y="3449164"/>
            <a:ext cx="1772729" cy="439947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СТРОНОМ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8255653" y="897148"/>
            <a:ext cx="1772729" cy="439947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ИЗИКА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9436912" y="1664073"/>
            <a:ext cx="1772729" cy="439947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ХИМ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9899755" y="2556619"/>
            <a:ext cx="1772729" cy="439947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ИОЛОГ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9535164" y="3449163"/>
            <a:ext cx="1772729" cy="439947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СТРОНОМ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443601" y="5529969"/>
            <a:ext cx="1772729" cy="439947"/>
          </a:xfrm>
          <a:prstGeom prst="roundRect">
            <a:avLst>
              <a:gd name="adj" fmla="val 50000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ИОЛОГ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691567" y="6169255"/>
            <a:ext cx="1772729" cy="439947"/>
          </a:xfrm>
          <a:prstGeom prst="roundRect">
            <a:avLst>
              <a:gd name="adj" fmla="val 50000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ХИМ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8648799" y="5528213"/>
            <a:ext cx="1772729" cy="439947"/>
          </a:xfrm>
          <a:prstGeom prst="roundRect">
            <a:avLst>
              <a:gd name="adj" fmla="val 50000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ИЗИКА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7785909" y="6169254"/>
            <a:ext cx="1772729" cy="439947"/>
          </a:xfrm>
          <a:prstGeom prst="roundRect">
            <a:avLst>
              <a:gd name="adj" fmla="val 50000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КОЛОГ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3105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3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576" y="768401"/>
            <a:ext cx="4351496" cy="223341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71942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Функциональная грамотность через призму физик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" name="Блок-схема: подготовка 6"/>
          <p:cNvSpPr/>
          <p:nvPr/>
        </p:nvSpPr>
        <p:spPr>
          <a:xfrm>
            <a:off x="3696194" y="2596823"/>
            <a:ext cx="4282387" cy="532068"/>
          </a:xfrm>
          <a:prstGeom prst="flowChartPreparati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ИЗИКА</a:t>
            </a:r>
            <a:endParaRPr lang="ru-RU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4" name="Прямая со стрелкой 13"/>
          <p:cNvCxnSpPr>
            <a:stCxn id="5" idx="2"/>
            <a:endCxn id="7" idx="0"/>
          </p:cNvCxnSpPr>
          <p:nvPr/>
        </p:nvCxnSpPr>
        <p:spPr>
          <a:xfrm>
            <a:off x="5804828" y="1144692"/>
            <a:ext cx="32560" cy="1452131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H="1">
            <a:off x="6173954" y="1126744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5467202" y="1144692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>
            <a:off x="5083145" y="1163116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 flipH="1">
            <a:off x="6559291" y="1146118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H="1">
            <a:off x="4712739" y="1164483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H="1">
            <a:off x="3080800" y="3150236"/>
            <a:ext cx="931888" cy="8296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endCxn id="31" idx="0"/>
          </p:cNvCxnSpPr>
          <p:nvPr/>
        </p:nvCxnSpPr>
        <p:spPr>
          <a:xfrm>
            <a:off x="4508627" y="3150236"/>
            <a:ext cx="0" cy="16538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H="1">
            <a:off x="5684070" y="3162480"/>
            <a:ext cx="1" cy="252756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7614768" y="3150236"/>
            <a:ext cx="761481" cy="8296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endCxn id="32" idx="0"/>
          </p:cNvCxnSpPr>
          <p:nvPr/>
        </p:nvCxnSpPr>
        <p:spPr>
          <a:xfrm flipH="1">
            <a:off x="6859516" y="3150236"/>
            <a:ext cx="2" cy="16538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828200" y="4010648"/>
            <a:ext cx="1430200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Финансовая 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</a:rPr>
              <a:t>грамотность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438919" y="4009363"/>
            <a:ext cx="187243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Математическая </a:t>
            </a:r>
            <a:endParaRPr lang="ru-RU" dirty="0">
              <a:solidFill>
                <a:srgbClr val="002060"/>
              </a:solidFill>
            </a:endParaRPr>
          </a:p>
          <a:p>
            <a:pPr algn="ctr"/>
            <a:r>
              <a:rPr lang="ru-RU" dirty="0" smtClean="0">
                <a:solidFill>
                  <a:srgbClr val="002060"/>
                </a:solidFill>
              </a:rPr>
              <a:t>грамотность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837161" y="4804112"/>
            <a:ext cx="1342932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Креативное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</a:rPr>
              <a:t>мышление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117357" y="4804111"/>
            <a:ext cx="1484317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ru-RU">
                <a:solidFill>
                  <a:srgbClr val="002060"/>
                </a:solidFill>
              </a:rPr>
              <a:t>Читательская</a:t>
            </a:r>
          </a:p>
          <a:p>
            <a:pPr algn="ctr"/>
            <a:r>
              <a:rPr lang="ru-RU">
                <a:solidFill>
                  <a:srgbClr val="002060"/>
                </a:solidFill>
              </a:rPr>
              <a:t>грамотность</a:t>
            </a:r>
            <a:endParaRPr lang="ru-RU" dirty="0" smtClean="0">
              <a:solidFill>
                <a:srgbClr val="00206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789985" y="5734125"/>
            <a:ext cx="5788170" cy="4616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</a:rPr>
              <a:t>Естественно-научная грамотность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062195" y="643497"/>
            <a:ext cx="3485265" cy="50119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Функциональная грамотность</a:t>
            </a:r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21" y="768401"/>
            <a:ext cx="2886430" cy="2886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577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29" grpId="0" animBg="1"/>
      <p:bldP spid="31" grpId="0" animBg="1"/>
      <p:bldP spid="32" grpId="0" animBg="1"/>
      <p:bldP spid="34" grpId="0" animBg="1"/>
      <p:bldP spid="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55634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Инструменты учителя на уроках физик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52587" y="846369"/>
            <a:ext cx="11680723" cy="65796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Задания предлагаемые в различных учебниках и </a:t>
            </a:r>
            <a:r>
              <a:rPr lang="ru-RU" b="1" dirty="0">
                <a:solidFill>
                  <a:srgbClr val="002060"/>
                </a:solidFill>
              </a:rPr>
              <a:t>учебных пособиях направлены на </a:t>
            </a:r>
            <a:r>
              <a:rPr lang="ru-RU" b="1" dirty="0" smtClean="0">
                <a:solidFill>
                  <a:srgbClr val="002060"/>
                </a:solidFill>
              </a:rPr>
              <a:t>формирование функциональной </a:t>
            </a:r>
            <a:r>
              <a:rPr lang="ru-RU" b="1" dirty="0">
                <a:solidFill>
                  <a:srgbClr val="002060"/>
                </a:solidFill>
              </a:rPr>
              <a:t>грамотности, поскольку, по сути, это </a:t>
            </a:r>
            <a:r>
              <a:rPr lang="ru-RU" b="1" dirty="0" err="1">
                <a:solidFill>
                  <a:srgbClr val="002060"/>
                </a:solidFill>
              </a:rPr>
              <a:t>метапредметные</a:t>
            </a:r>
            <a:r>
              <a:rPr lang="ru-RU" b="1" dirty="0">
                <a:solidFill>
                  <a:srgbClr val="002060"/>
                </a:solidFill>
              </a:rPr>
              <a:t> результаты обуче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36711" y="1629805"/>
            <a:ext cx="18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ТИПЫ ЗАДАНИЙ: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2112" y="2034428"/>
            <a:ext cx="3235937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Задания на работу с текстом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62109" y="2694298"/>
            <a:ext cx="3235937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Опорные конспекты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462107" y="3356860"/>
            <a:ext cx="3235937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онтекстные задач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62106" y="4016730"/>
            <a:ext cx="3235937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ачественные задач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187363" y="4685278"/>
            <a:ext cx="3785421" cy="81261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Рубрика «Мои физические исследования», «Домашний эксперимент» и др.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462104" y="5763313"/>
            <a:ext cx="3235937" cy="57864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Работа с информацией в нетекстовом виде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5192866" y="3279311"/>
            <a:ext cx="2210881" cy="1474838"/>
          </a:xfrm>
          <a:prstGeom prst="right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8781292" y="1665096"/>
            <a:ext cx="2152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ИНСТРУМЕНТАРИЙ: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8747921" y="2235989"/>
            <a:ext cx="2564862" cy="58455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Учебник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8747921" y="2944065"/>
            <a:ext cx="2564862" cy="58455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Задачник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8747921" y="3652141"/>
            <a:ext cx="2564862" cy="58455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Рабочая тетрадь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8747921" y="4360217"/>
            <a:ext cx="2564862" cy="5068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Сборник контрольных работ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8747921" y="4991027"/>
            <a:ext cx="2564862" cy="5068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Технологические карты уроков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8747921" y="5621837"/>
            <a:ext cx="2564862" cy="5068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Методические рекомендации</a:t>
            </a:r>
            <a:endParaRPr 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345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/>
      <p:bldP spid="13" grpId="0" animBg="1"/>
      <p:bldP spid="36" grpId="0" animBg="1"/>
      <p:bldP spid="38" grpId="0" animBg="1"/>
      <p:bldP spid="39" grpId="0" animBg="1"/>
      <p:bldP spid="40" grpId="0" animBg="1"/>
      <p:bldP spid="41" grpId="0" animBg="1"/>
      <p:bldP spid="16" grpId="0" animBg="1"/>
      <p:bldP spid="42" grpId="0"/>
      <p:bldP spid="43" grpId="0" animBg="1"/>
      <p:bldP spid="44" grpId="0" animBg="1"/>
      <p:bldP spid="45" grpId="0" animBg="1"/>
      <p:bldP spid="46" grpId="0" animBg="1"/>
      <p:bldP spid="47" grpId="0" animBg="1"/>
      <p:bldP spid="4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7049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Естественно-научная грамотность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577087" y="589185"/>
            <a:ext cx="4364966" cy="457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АКИЕ КОМПЕТЕНЦИИ ПРОВЕРЯЮТСЯ?</a:t>
            </a:r>
            <a:endParaRPr lang="ru-RU" b="1" dirty="0">
              <a:solidFill>
                <a:srgbClr val="002060"/>
              </a:solidFill>
            </a:endParaRPr>
          </a:p>
        </p:txBody>
      </p:sp>
      <p:cxnSp>
        <p:nvCxnSpPr>
          <p:cNvPr id="7" name="Прямая со стрелкой 6"/>
          <p:cNvCxnSpPr>
            <a:stCxn id="3" idx="2"/>
            <a:endCxn id="17" idx="0"/>
          </p:cNvCxnSpPr>
          <p:nvPr/>
        </p:nvCxnSpPr>
        <p:spPr>
          <a:xfrm>
            <a:off x="5759570" y="1046385"/>
            <a:ext cx="0" cy="13192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Скругленный прямоугольник 10"/>
          <p:cNvSpPr/>
          <p:nvPr/>
        </p:nvSpPr>
        <p:spPr>
          <a:xfrm>
            <a:off x="293298" y="2368112"/>
            <a:ext cx="3467818" cy="506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002060"/>
                </a:solidFill>
              </a:rPr>
              <a:t>научное объяснение явлений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025661" y="2365627"/>
            <a:ext cx="3467818" cy="506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400" b="1" dirty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758024" y="2365627"/>
            <a:ext cx="3467818" cy="506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b="1" dirty="0">
                <a:solidFill>
                  <a:srgbClr val="002060"/>
                </a:solidFill>
              </a:rPr>
              <a:t>интерпретация данных и использование научных доказательств для получения выводов</a:t>
            </a:r>
          </a:p>
        </p:txBody>
      </p:sp>
      <p:cxnSp>
        <p:nvCxnSpPr>
          <p:cNvPr id="13" name="Прямая со стрелкой 12"/>
          <p:cNvCxnSpPr>
            <a:stCxn id="3" idx="2"/>
            <a:endCxn id="11" idx="0"/>
          </p:cNvCxnSpPr>
          <p:nvPr/>
        </p:nvCxnSpPr>
        <p:spPr>
          <a:xfrm flipH="1">
            <a:off x="2027207" y="1046385"/>
            <a:ext cx="3732363" cy="13217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stCxn id="3" idx="2"/>
            <a:endCxn id="18" idx="0"/>
          </p:cNvCxnSpPr>
          <p:nvPr/>
        </p:nvCxnSpPr>
        <p:spPr>
          <a:xfrm>
            <a:off x="5759570" y="1046385"/>
            <a:ext cx="3732363" cy="13192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Стрелка вниз 21"/>
          <p:cNvSpPr/>
          <p:nvPr/>
        </p:nvSpPr>
        <p:spPr>
          <a:xfrm>
            <a:off x="1897811" y="2872559"/>
            <a:ext cx="258792" cy="327841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>
            <a:hlinkClick r:id="rId4" action="ppaction://hlinksldjump"/>
          </p:cNvPr>
          <p:cNvSpPr/>
          <p:nvPr/>
        </p:nvSpPr>
        <p:spPr>
          <a:xfrm>
            <a:off x="497456" y="325043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Применить соответствующие естественнонаучные знания для объяснения явления</a:t>
            </a:r>
          </a:p>
        </p:txBody>
      </p:sp>
      <p:sp>
        <p:nvSpPr>
          <p:cNvPr id="29" name="Скругленный прямоугольник 28">
            <a:hlinkClick r:id="rId5" action="ppaction://hlinksldjump"/>
          </p:cNvPr>
          <p:cNvSpPr/>
          <p:nvPr/>
        </p:nvSpPr>
        <p:spPr>
          <a:xfrm>
            <a:off x="497456" y="4002282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Распознавать, использовать и создавать объяснительные модели и представления</a:t>
            </a:r>
          </a:p>
        </p:txBody>
      </p:sp>
      <p:sp>
        <p:nvSpPr>
          <p:cNvPr id="30" name="Скругленный прямоугольник 29">
            <a:hlinkClick r:id="rId6" action="ppaction://hlinksldjump"/>
          </p:cNvPr>
          <p:cNvSpPr/>
          <p:nvPr/>
        </p:nvSpPr>
        <p:spPr>
          <a:xfrm>
            <a:off x="497456" y="475091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Делать и научно обосновывать прогнозы о протекании процесса или явления</a:t>
            </a:r>
          </a:p>
        </p:txBody>
      </p:sp>
      <p:sp>
        <p:nvSpPr>
          <p:cNvPr id="31" name="Скругленный прямоугольник 30">
            <a:hlinkClick r:id="rId7" action="ppaction://hlinksldjump"/>
          </p:cNvPr>
          <p:cNvSpPr/>
          <p:nvPr/>
        </p:nvSpPr>
        <p:spPr>
          <a:xfrm>
            <a:off x="497456" y="5497226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Объяснять принцип действия технического устройства или технологии</a:t>
            </a:r>
          </a:p>
        </p:txBody>
      </p:sp>
      <p:sp>
        <p:nvSpPr>
          <p:cNvPr id="32" name="Скругленный прямоугольник 31">
            <a:hlinkClick r:id="rId8" action="ppaction://hlinksldjump"/>
          </p:cNvPr>
          <p:cNvSpPr/>
          <p:nvPr/>
        </p:nvSpPr>
        <p:spPr>
          <a:xfrm>
            <a:off x="4229819" y="3258614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Распознавать и формулировать цель данного исследования</a:t>
            </a:r>
          </a:p>
        </p:txBody>
      </p:sp>
      <p:sp>
        <p:nvSpPr>
          <p:cNvPr id="33" name="Скругленный прямоугольник 32">
            <a:hlinkClick r:id="rId9" action="ppaction://hlinksldjump"/>
          </p:cNvPr>
          <p:cNvSpPr/>
          <p:nvPr/>
        </p:nvSpPr>
        <p:spPr>
          <a:xfrm>
            <a:off x="4229819" y="4002282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Предлагать или оценивать способ научного исследования данного вопроса</a:t>
            </a:r>
          </a:p>
        </p:txBody>
      </p:sp>
      <p:sp>
        <p:nvSpPr>
          <p:cNvPr id="34" name="Скругленный прямоугольник 33">
            <a:hlinkClick r:id="rId10" action="ppaction://hlinksldjump"/>
          </p:cNvPr>
          <p:cNvSpPr/>
          <p:nvPr/>
        </p:nvSpPr>
        <p:spPr>
          <a:xfrm>
            <a:off x="4229819" y="474595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Выдвигать объяснительные гипотезы и предлагать способы их проверки</a:t>
            </a:r>
          </a:p>
        </p:txBody>
      </p:sp>
      <p:sp>
        <p:nvSpPr>
          <p:cNvPr id="36" name="Скругленный прямоугольник 35">
            <a:hlinkClick r:id="rId11" action="ppaction://hlinksldjump"/>
          </p:cNvPr>
          <p:cNvSpPr/>
          <p:nvPr/>
        </p:nvSpPr>
        <p:spPr>
          <a:xfrm>
            <a:off x="4229819" y="5489617"/>
            <a:ext cx="3059502" cy="93786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Описывать и оценивать способы, которые используют учёные, чтобы обеспечить надёжность данных и достоверность объяснений</a:t>
            </a:r>
          </a:p>
        </p:txBody>
      </p:sp>
      <p:sp>
        <p:nvSpPr>
          <p:cNvPr id="38" name="Скругленный прямоугольник 37">
            <a:hlinkClick r:id="rId12" action="ppaction://hlinksldjump"/>
          </p:cNvPr>
          <p:cNvSpPr/>
          <p:nvPr/>
        </p:nvSpPr>
        <p:spPr>
          <a:xfrm>
            <a:off x="7942053" y="325043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Анализировать, интерпретировать данные и делать соответствующие выводы</a:t>
            </a:r>
          </a:p>
        </p:txBody>
      </p:sp>
      <p:sp>
        <p:nvSpPr>
          <p:cNvPr id="39" name="Скругленный прямоугольник 38">
            <a:hlinkClick r:id="rId13" action="ppaction://hlinksldjump"/>
          </p:cNvPr>
          <p:cNvSpPr/>
          <p:nvPr/>
        </p:nvSpPr>
        <p:spPr>
          <a:xfrm>
            <a:off x="7955905" y="4007975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>
                <a:solidFill>
                  <a:srgbClr val="002060"/>
                </a:solidFill>
              </a:rPr>
              <a:t>Преобразовывать одну форму представления данных в другую</a:t>
            </a:r>
          </a:p>
        </p:txBody>
      </p:sp>
      <p:sp>
        <p:nvSpPr>
          <p:cNvPr id="40" name="Скругленный прямоугольник 39">
            <a:hlinkClick r:id="rId14" action="ppaction://hlinksldjump"/>
          </p:cNvPr>
          <p:cNvSpPr/>
          <p:nvPr/>
        </p:nvSpPr>
        <p:spPr>
          <a:xfrm>
            <a:off x="7955905" y="475091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Распознавать допущения, доказательства и рассуждения в научных текстах</a:t>
            </a:r>
          </a:p>
        </p:txBody>
      </p:sp>
      <p:sp>
        <p:nvSpPr>
          <p:cNvPr id="41" name="Скругленный прямоугольник 40">
            <a:hlinkClick r:id="rId15" action="ppaction://hlinksldjump"/>
          </p:cNvPr>
          <p:cNvSpPr/>
          <p:nvPr/>
        </p:nvSpPr>
        <p:spPr>
          <a:xfrm>
            <a:off x="7955905" y="5497226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Оценивать c научной точки зрения аргументы и доказательства из различных источников</a:t>
            </a:r>
          </a:p>
        </p:txBody>
      </p:sp>
      <p:sp>
        <p:nvSpPr>
          <p:cNvPr id="42" name="Стрелка вниз 41"/>
          <p:cNvSpPr/>
          <p:nvPr/>
        </p:nvSpPr>
        <p:spPr>
          <a:xfrm>
            <a:off x="5630174" y="2871412"/>
            <a:ext cx="258792" cy="327841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трелка вниз 42"/>
          <p:cNvSpPr/>
          <p:nvPr/>
        </p:nvSpPr>
        <p:spPr>
          <a:xfrm>
            <a:off x="9422395" y="2879578"/>
            <a:ext cx="258792" cy="319676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593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7" grpId="0" animBg="1"/>
      <p:bldP spid="18" grpId="0" animBg="1"/>
      <p:bldP spid="22" grpId="0" animBg="1"/>
      <p:bldP spid="23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6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18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Научное объяснение явлени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70169"/>
            <a:ext cx="8582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Применить соответствующие естественнонаучные знания для объяснения явления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70821" y="1998585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</a:t>
            </a:r>
            <a:r>
              <a:rPr lang="ru-RU" b="1" dirty="0" smtClean="0">
                <a:solidFill>
                  <a:srgbClr val="FF0000"/>
                </a:solidFill>
              </a:rPr>
              <a:t>задания (что предлагается сделать ученику?)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0820" y="1307123"/>
            <a:ext cx="105019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</a:t>
            </a:r>
            <a:r>
              <a:rPr lang="ru-RU" dirty="0" smtClean="0">
                <a:solidFill>
                  <a:srgbClr val="002060"/>
                </a:solidFill>
              </a:rPr>
              <a:t>описание стандартной </a:t>
            </a:r>
            <a:r>
              <a:rPr lang="ru-RU" dirty="0">
                <a:solidFill>
                  <a:srgbClr val="002060"/>
                </a:solidFill>
              </a:rPr>
              <a:t>ситуации, для объяснения которой можно напрямую использовать программный материа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7276" y="2457303"/>
            <a:ext cx="4238625" cy="120015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45901" y="3864467"/>
            <a:ext cx="5953988" cy="1222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204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18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Научное объяснение явлени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948970" y="570169"/>
            <a:ext cx="87788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Распознавать, использовать и создавать объяснительные модели и представле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0821" y="2224606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3" name="Прямоугольник 12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</a:t>
            </a:r>
            <a:r>
              <a:rPr lang="ru-RU" b="1" dirty="0" smtClean="0">
                <a:solidFill>
                  <a:srgbClr val="FF0000"/>
                </a:solidFill>
              </a:rPr>
              <a:t>задания (</a:t>
            </a:r>
            <a:r>
              <a:rPr lang="ru-RU" b="1" dirty="0">
                <a:solidFill>
                  <a:srgbClr val="FF0000"/>
                </a:solidFill>
              </a:rPr>
              <a:t>что предлагается сделать ученику</a:t>
            </a:r>
            <a:r>
              <a:rPr lang="ru-RU" b="1" dirty="0" smtClean="0">
                <a:solidFill>
                  <a:srgbClr val="FF0000"/>
                </a:solidFill>
              </a:rPr>
              <a:t>?)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70821" y="1301276"/>
            <a:ext cx="1139671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описание нестандартной ситуации, для которой ученик не имеет готового объяснения. Для получения объяснения она должна быть преобразована  или в типовую известную модель или в модель, в которой ясно прослеживаются нужные взаимосвязи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727227"/>
            <a:ext cx="5967849" cy="78419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0484" y="3570068"/>
            <a:ext cx="6285497" cy="71235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821" y="4248979"/>
            <a:ext cx="5957414" cy="137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223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18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Научное объяснение явлени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8029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Делать и научно обосновывать прогнозы о протекании процесса или явлен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51745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89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</a:t>
            </a:r>
            <a:r>
              <a:rPr lang="ru-RU" b="1" dirty="0" smtClean="0">
                <a:solidFill>
                  <a:srgbClr val="FF0000"/>
                </a:solidFill>
              </a:rPr>
              <a:t>задания (</a:t>
            </a:r>
            <a:r>
              <a:rPr lang="ru-RU" b="1" dirty="0">
                <a:solidFill>
                  <a:srgbClr val="FF0000"/>
                </a:solidFill>
              </a:rPr>
              <a:t>что предлагается сделать ученику</a:t>
            </a:r>
            <a:r>
              <a:rPr lang="ru-RU" b="1" dirty="0" smtClean="0">
                <a:solidFill>
                  <a:srgbClr val="FF0000"/>
                </a:solidFill>
              </a:rPr>
              <a:t>?)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70821" y="1307123"/>
            <a:ext cx="112393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на основе понимания механизма (или причин) явления или процесса обосновать дальнейшее развитие событий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420649"/>
            <a:ext cx="5663334" cy="164210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34155" y="3571150"/>
            <a:ext cx="5694231" cy="150993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472" y="5146281"/>
            <a:ext cx="5736595" cy="1085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18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Научное объяснение явлени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72900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Объяснять принцип действия технического устройства или технологи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98585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</a:t>
            </a:r>
            <a:r>
              <a:rPr lang="ru-RU" b="1" dirty="0" smtClean="0">
                <a:solidFill>
                  <a:srgbClr val="FF0000"/>
                </a:solidFill>
              </a:rPr>
              <a:t>?)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70820" y="1307123"/>
            <a:ext cx="105609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объяснить, на каких научных знаниях основана работа описанного технического устройства или технологии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0" y="2457303"/>
            <a:ext cx="5008310" cy="267628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11144" y="3178432"/>
            <a:ext cx="5861340" cy="1817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56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8494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62309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Распознавать и формулировать цель данного исследован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53454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?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70821" y="1307123"/>
            <a:ext cx="110051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о краткому описанию хода исследования или действий исследователей предлагается четко сформулировать его цель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357964"/>
            <a:ext cx="5097466" cy="401411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3401" y="2490736"/>
            <a:ext cx="5452472" cy="164186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70119" y="4064661"/>
            <a:ext cx="5516830" cy="222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195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8494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70169"/>
            <a:ext cx="7785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Предлагать или оценивать способ научного исследования данного вопроса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53092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?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70820" y="1307123"/>
            <a:ext cx="112590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о описанию проблемы предлагается кратко сформулировать или оценить идею исследования, направленного на ее решение, и/или описать основные этапы такого исследования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411810"/>
            <a:ext cx="6250394" cy="191566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46272" y="4359172"/>
            <a:ext cx="6651054" cy="135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11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40697" y="6536602"/>
            <a:ext cx="388537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19140" y="1777068"/>
            <a:ext cx="534761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200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Академическая грамотность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545988" y="3450731"/>
            <a:ext cx="56600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200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Функциональная грамотность</a:t>
            </a:r>
          </a:p>
        </p:txBody>
      </p:sp>
      <p:sp>
        <p:nvSpPr>
          <p:cNvPr id="42" name="Текст 1"/>
          <p:cNvSpPr txBox="1">
            <a:spLocks/>
          </p:cNvSpPr>
          <p:nvPr/>
        </p:nvSpPr>
        <p:spPr>
          <a:xfrm>
            <a:off x="1262411" y="4847453"/>
            <a:ext cx="4216031" cy="1484386"/>
          </a:xfrm>
          <a:prstGeom prst="rect">
            <a:avLst/>
          </a:prstGeom>
        </p:spPr>
        <p:txBody>
          <a:bodyPr vert="horz" lIns="144000" tIns="144000" rIns="72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овокупность умений читать и писать для использования в повседневной жизни и удовлетворения житейских проблем</a:t>
            </a:r>
          </a:p>
        </p:txBody>
      </p:sp>
      <p:sp>
        <p:nvSpPr>
          <p:cNvPr id="43" name="Текст 1"/>
          <p:cNvSpPr txBox="1">
            <a:spLocks/>
          </p:cNvSpPr>
          <p:nvPr/>
        </p:nvSpPr>
        <p:spPr>
          <a:xfrm>
            <a:off x="5760546" y="4880969"/>
            <a:ext cx="4304781" cy="754329"/>
          </a:xfrm>
          <a:prstGeom prst="rect">
            <a:avLst/>
          </a:prstGeom>
        </p:spPr>
        <p:txBody>
          <a:bodyPr vert="horz" lIns="144000" tIns="144000" rIns="72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Учимся дл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жизни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Широкий спектр жизненных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задач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Знания, умения, отношения и ценности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Freeform: Shape 2">
            <a:extLst/>
          </p:cNvPr>
          <p:cNvSpPr/>
          <p:nvPr/>
        </p:nvSpPr>
        <p:spPr>
          <a:xfrm>
            <a:off x="5410200" y="2268538"/>
            <a:ext cx="1598613" cy="1208087"/>
          </a:xfrm>
          <a:custGeom>
            <a:avLst/>
            <a:gdLst>
              <a:gd name="connsiteX0" fmla="*/ 0 w 1598807"/>
              <a:gd name="connsiteY0" fmla="*/ 0 h 1207370"/>
              <a:gd name="connsiteX1" fmla="*/ 1598807 w 1598807"/>
              <a:gd name="connsiteY1" fmla="*/ 0 h 1207370"/>
              <a:gd name="connsiteX2" fmla="*/ 802778 w 1598807"/>
              <a:gd name="connsiteY2" fmla="*/ 1207370 h 1207370"/>
              <a:gd name="connsiteX3" fmla="*/ 0 w 1598807"/>
              <a:gd name="connsiteY3" fmla="*/ 0 h 120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8807" h="1207370">
                <a:moveTo>
                  <a:pt x="0" y="0"/>
                </a:moveTo>
                <a:lnTo>
                  <a:pt x="1598807" y="0"/>
                </a:lnTo>
                <a:lnTo>
                  <a:pt x="802778" y="12073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Freeform: Shape 3">
            <a:extLst/>
          </p:cNvPr>
          <p:cNvSpPr/>
          <p:nvPr/>
        </p:nvSpPr>
        <p:spPr>
          <a:xfrm>
            <a:off x="6267450" y="2300288"/>
            <a:ext cx="1387475" cy="1195387"/>
          </a:xfrm>
          <a:custGeom>
            <a:avLst/>
            <a:gdLst>
              <a:gd name="connsiteX0" fmla="*/ 788959 w 1387282"/>
              <a:gd name="connsiteY0" fmla="*/ 0 h 1196645"/>
              <a:gd name="connsiteX1" fmla="*/ 1387282 w 1387282"/>
              <a:gd name="connsiteY1" fmla="*/ 1196645 h 1196645"/>
              <a:gd name="connsiteX2" fmla="*/ 0 w 1387282"/>
              <a:gd name="connsiteY2" fmla="*/ 1196645 h 1196645"/>
              <a:gd name="connsiteX3" fmla="*/ 788959 w 1387282"/>
              <a:gd name="connsiteY3" fmla="*/ 0 h 1196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7282" h="1196645">
                <a:moveTo>
                  <a:pt x="788959" y="0"/>
                </a:moveTo>
                <a:lnTo>
                  <a:pt x="1387282" y="1196645"/>
                </a:lnTo>
                <a:lnTo>
                  <a:pt x="0" y="1196645"/>
                </a:lnTo>
                <a:lnTo>
                  <a:pt x="78895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Freeform: Shape 4">
            <a:extLst/>
          </p:cNvPr>
          <p:cNvSpPr/>
          <p:nvPr/>
        </p:nvSpPr>
        <p:spPr>
          <a:xfrm>
            <a:off x="4770438" y="2305050"/>
            <a:ext cx="1387475" cy="1190625"/>
          </a:xfrm>
          <a:custGeom>
            <a:avLst/>
            <a:gdLst>
              <a:gd name="connsiteX0" fmla="*/ 595674 w 1387798"/>
              <a:gd name="connsiteY0" fmla="*/ 0 h 1191347"/>
              <a:gd name="connsiteX1" fmla="*/ 1387798 w 1387798"/>
              <a:gd name="connsiteY1" fmla="*/ 1191347 h 1191347"/>
              <a:gd name="connsiteX2" fmla="*/ 0 w 1387798"/>
              <a:gd name="connsiteY2" fmla="*/ 1191347 h 1191347"/>
              <a:gd name="connsiteX3" fmla="*/ 595674 w 1387798"/>
              <a:gd name="connsiteY3" fmla="*/ 0 h 119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7798" h="1191347">
                <a:moveTo>
                  <a:pt x="595674" y="0"/>
                </a:moveTo>
                <a:lnTo>
                  <a:pt x="1387798" y="1191347"/>
                </a:lnTo>
                <a:lnTo>
                  <a:pt x="0" y="1191347"/>
                </a:lnTo>
                <a:lnTo>
                  <a:pt x="595674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Текст 5"/>
          <p:cNvSpPr txBox="1">
            <a:spLocks/>
          </p:cNvSpPr>
          <p:nvPr/>
        </p:nvSpPr>
        <p:spPr>
          <a:xfrm>
            <a:off x="2767413" y="4130141"/>
            <a:ext cx="995590" cy="679736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457200" marR="0" indent="-457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1pPr>
            <a:lvl2pPr marL="990600" marR="0" indent="-5334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2pPr>
            <a:lvl3pPr marL="1554479" marR="0" indent="-640079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3pPr>
            <a:lvl4pPr marL="2082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4pPr>
            <a:lvl5pPr marL="25400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5pPr>
            <a:lvl6pPr marL="29972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6pPr>
            <a:lvl7pPr marL="34544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7pPr>
            <a:lvl8pPr marL="39116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8pPr>
            <a:lvl9pPr marL="4368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9pPr>
          </a:lstStyle>
          <a:p>
            <a:pPr marL="0" marR="0" lvl="0" indent="0" algn="ctr" defTabSz="1828800" rtl="0" eaLnBrk="1" fontAlgn="auto" latinLnBrk="0" hangingPunct="1">
              <a:lnSpc>
                <a:spcPct val="90000"/>
              </a:lnSpc>
              <a:spcBef>
                <a:spcPts val="3000"/>
              </a:spcBef>
              <a:spcAft>
                <a:spcPts val="0"/>
              </a:spcAft>
              <a:buClrTx/>
              <a:buSzPct val="100000"/>
              <a:buFont typeface="Gilroy-Light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roy-Light"/>
                <a:sym typeface="Gilroy-Light"/>
              </a:rPr>
              <a:t>1957</a:t>
            </a:r>
          </a:p>
          <a:p>
            <a:pPr marL="457200" marR="0" lvl="0" indent="-457200" algn="ctr" defTabSz="1828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ilroy-Light"/>
              <a:sym typeface="Gilroy-Light"/>
            </a:endParaRPr>
          </a:p>
        </p:txBody>
      </p:sp>
      <p:sp>
        <p:nvSpPr>
          <p:cNvPr id="37" name="Текст 5"/>
          <p:cNvSpPr txBox="1">
            <a:spLocks/>
          </p:cNvSpPr>
          <p:nvPr/>
        </p:nvSpPr>
        <p:spPr>
          <a:xfrm>
            <a:off x="5518188" y="4087592"/>
            <a:ext cx="995590" cy="679736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457200" marR="0" indent="-457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1pPr>
            <a:lvl2pPr marL="990600" marR="0" indent="-5334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2pPr>
            <a:lvl3pPr marL="1554479" marR="0" indent="-640079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3pPr>
            <a:lvl4pPr marL="2082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4pPr>
            <a:lvl5pPr marL="25400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5pPr>
            <a:lvl6pPr marL="29972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6pPr>
            <a:lvl7pPr marL="34544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7pPr>
            <a:lvl8pPr marL="39116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8pPr>
            <a:lvl9pPr marL="4368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9pPr>
          </a:lstStyle>
          <a:p>
            <a:pPr marL="0" marR="0" lvl="0" indent="0" algn="ctr" defTabSz="1828800" rtl="0" eaLnBrk="1" fontAlgn="auto" latinLnBrk="0" hangingPunct="1">
              <a:lnSpc>
                <a:spcPct val="90000"/>
              </a:lnSpc>
              <a:spcBef>
                <a:spcPts val="3000"/>
              </a:spcBef>
              <a:spcAft>
                <a:spcPts val="0"/>
              </a:spcAft>
              <a:buClrTx/>
              <a:buSzPct val="100000"/>
              <a:buFont typeface="Gilroy-Light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roy-Light"/>
                <a:sym typeface="Gilroy-Light"/>
              </a:rPr>
              <a:t>2000</a:t>
            </a:r>
          </a:p>
          <a:p>
            <a:pPr marL="457200" marR="0" lvl="0" indent="-457200" algn="ctr" defTabSz="1828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ilroy-Light"/>
              <a:sym typeface="Gilroy-Light"/>
            </a:endParaRPr>
          </a:p>
        </p:txBody>
      </p:sp>
      <p:sp>
        <p:nvSpPr>
          <p:cNvPr id="38" name="Текст 5"/>
          <p:cNvSpPr txBox="1">
            <a:spLocks/>
          </p:cNvSpPr>
          <p:nvPr/>
        </p:nvSpPr>
        <p:spPr>
          <a:xfrm>
            <a:off x="8268963" y="4103115"/>
            <a:ext cx="995590" cy="679736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457200" marR="0" indent="-457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1pPr>
            <a:lvl2pPr marL="990600" marR="0" indent="-5334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2pPr>
            <a:lvl3pPr marL="1554479" marR="0" indent="-640079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3pPr>
            <a:lvl4pPr marL="2082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4pPr>
            <a:lvl5pPr marL="25400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5pPr>
            <a:lvl6pPr marL="29972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6pPr>
            <a:lvl7pPr marL="34544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7pPr>
            <a:lvl8pPr marL="39116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8pPr>
            <a:lvl9pPr marL="4368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9pPr>
          </a:lstStyle>
          <a:p>
            <a:pPr marL="0" marR="0" lvl="0" indent="0" algn="ctr" defTabSz="1828800" rtl="0" eaLnBrk="1" fontAlgn="auto" latinLnBrk="0" hangingPunct="1">
              <a:lnSpc>
                <a:spcPct val="90000"/>
              </a:lnSpc>
              <a:spcBef>
                <a:spcPts val="3000"/>
              </a:spcBef>
              <a:spcAft>
                <a:spcPts val="0"/>
              </a:spcAft>
              <a:buClrTx/>
              <a:buSzPct val="100000"/>
              <a:buFont typeface="Gilroy-Light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roy-Light"/>
                <a:sym typeface="Gilroy-Light"/>
              </a:rPr>
              <a:t>2022</a:t>
            </a:r>
          </a:p>
          <a:p>
            <a:pPr marL="457200" marR="0" lvl="0" indent="-457200" algn="ctr" defTabSz="1828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ilroy-Light"/>
              <a:sym typeface="Gilroy-Light"/>
            </a:endParaRPr>
          </a:p>
        </p:txBody>
      </p:sp>
      <p:sp>
        <p:nvSpPr>
          <p:cNvPr id="39" name="Текст 5"/>
          <p:cNvSpPr txBox="1">
            <a:spLocks/>
          </p:cNvSpPr>
          <p:nvPr/>
        </p:nvSpPr>
        <p:spPr>
          <a:xfrm>
            <a:off x="1753356" y="839165"/>
            <a:ext cx="2867630" cy="679736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457200" marR="0" indent="-457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1pPr>
            <a:lvl2pPr marL="990600" marR="0" indent="-5334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2pPr>
            <a:lvl3pPr marL="1554479" marR="0" indent="-640079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3pPr>
            <a:lvl4pPr marL="2082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4pPr>
            <a:lvl5pPr marL="25400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5pPr>
            <a:lvl6pPr marL="29972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6pPr>
            <a:lvl7pPr marL="34544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7pPr>
            <a:lvl8pPr marL="39116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8pPr>
            <a:lvl9pPr marL="4368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9pPr>
          </a:lstStyle>
          <a:p>
            <a:pPr marL="0" marR="0" lvl="0" indent="0" algn="ctr" defTabSz="1828800" rtl="0" eaLnBrk="1" fontAlgn="auto" latinLnBrk="0" hangingPunct="1">
              <a:lnSpc>
                <a:spcPct val="90000"/>
              </a:lnSpc>
              <a:spcBef>
                <a:spcPts val="3000"/>
              </a:spcBef>
              <a:spcAft>
                <a:spcPts val="0"/>
              </a:spcAft>
              <a:buClrTx/>
              <a:buSzPct val="100000"/>
              <a:buFont typeface="Gilroy-Light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roy-Light"/>
                <a:sym typeface="Gilroy-Light"/>
              </a:rPr>
              <a:t>Операциональная</a:t>
            </a: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ilroy-Light"/>
              <a:sym typeface="Gilroy-Light"/>
            </a:endParaRPr>
          </a:p>
          <a:p>
            <a:pPr marL="457200" marR="0" lvl="0" indent="-457200" algn="ctr" defTabSz="1828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ilroy-Light"/>
              <a:sym typeface="Gilroy-Light"/>
            </a:endParaRPr>
          </a:p>
        </p:txBody>
      </p:sp>
      <p:sp>
        <p:nvSpPr>
          <p:cNvPr id="44" name="Текст 5"/>
          <p:cNvSpPr txBox="1">
            <a:spLocks/>
          </p:cNvSpPr>
          <p:nvPr/>
        </p:nvSpPr>
        <p:spPr>
          <a:xfrm>
            <a:off x="5103825" y="1091476"/>
            <a:ext cx="1978247" cy="679736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457200" marR="0" indent="-457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1pPr>
            <a:lvl2pPr marL="990600" marR="0" indent="-5334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2pPr>
            <a:lvl3pPr marL="1554479" marR="0" indent="-640079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3pPr>
            <a:lvl4pPr marL="2082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4pPr>
            <a:lvl5pPr marL="25400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5pPr>
            <a:lvl6pPr marL="29972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6pPr>
            <a:lvl7pPr marL="34544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7pPr>
            <a:lvl8pPr marL="39116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8pPr>
            <a:lvl9pPr marL="4368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9pPr>
          </a:lstStyle>
          <a:p>
            <a:pPr marL="0" marR="0" lvl="0" indent="0" algn="ctr" defTabSz="1828800" rtl="0" eaLnBrk="1" fontAlgn="auto" latinLnBrk="0" hangingPunct="1">
              <a:lnSpc>
                <a:spcPct val="90000"/>
              </a:lnSpc>
              <a:spcBef>
                <a:spcPts val="3000"/>
              </a:spcBef>
              <a:spcAft>
                <a:spcPts val="0"/>
              </a:spcAft>
              <a:buClrTx/>
              <a:buSzPct val="100000"/>
              <a:buFont typeface="Gilroy-Light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roy-Light"/>
                <a:sym typeface="Gilroy-Light"/>
              </a:rPr>
              <a:t>Культурная</a:t>
            </a:r>
          </a:p>
          <a:p>
            <a:pPr marL="457200" marR="0" lvl="0" indent="-457200" algn="ctr" defTabSz="1828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ilroy-Light"/>
              <a:sym typeface="Gilroy-Light"/>
            </a:endParaRPr>
          </a:p>
        </p:txBody>
      </p:sp>
      <p:sp>
        <p:nvSpPr>
          <p:cNvPr id="45" name="Текст 5"/>
          <p:cNvSpPr txBox="1">
            <a:spLocks/>
          </p:cNvSpPr>
          <p:nvPr/>
        </p:nvSpPr>
        <p:spPr>
          <a:xfrm>
            <a:off x="7677507" y="839165"/>
            <a:ext cx="2574829" cy="679736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457200" marR="0" indent="-457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1pPr>
            <a:lvl2pPr marL="990600" marR="0" indent="-5334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2pPr>
            <a:lvl3pPr marL="1554479" marR="0" indent="-640079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3pPr>
            <a:lvl4pPr marL="2082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4pPr>
            <a:lvl5pPr marL="25400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5pPr>
            <a:lvl6pPr marL="29972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6pPr>
            <a:lvl7pPr marL="34544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7pPr>
            <a:lvl8pPr marL="39116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8pPr>
            <a:lvl9pPr marL="4368800" marR="0" indent="-711200" algn="l" defTabSz="1828800" latinLnBrk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Pct val="100000"/>
              <a:buFont typeface="Gilroy-Light"/>
              <a:buChar char="•"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Gilroy-Light"/>
                <a:ea typeface="Gilroy-Light"/>
                <a:cs typeface="Gilroy-Light"/>
                <a:sym typeface="Gilroy-Light"/>
              </a:defRPr>
            </a:lvl9pPr>
          </a:lstStyle>
          <a:p>
            <a:pPr marL="0" marR="0" lvl="0" indent="0" algn="ctr" defTabSz="1828800" rtl="0" eaLnBrk="1" fontAlgn="auto" latinLnBrk="0" hangingPunct="1">
              <a:lnSpc>
                <a:spcPct val="90000"/>
              </a:lnSpc>
              <a:spcBef>
                <a:spcPts val="3000"/>
              </a:spcBef>
              <a:spcAft>
                <a:spcPts val="0"/>
              </a:spcAft>
              <a:buClrTx/>
              <a:buSzPct val="100000"/>
              <a:buFont typeface="Gilroy-Light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roy-Light"/>
                <a:sym typeface="Gilroy-Light"/>
              </a:rPr>
              <a:t>Критическая</a:t>
            </a:r>
          </a:p>
          <a:p>
            <a:pPr marL="457200" marR="0" lvl="0" indent="-457200" algn="ctr" defTabSz="1828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ilroy-Light"/>
              <a:sym typeface="Gilroy-Light"/>
            </a:endParaRPr>
          </a:p>
        </p:txBody>
      </p:sp>
    </p:spTree>
    <p:extLst>
      <p:ext uri="{BB962C8B-B14F-4D97-AF65-F5344CB8AC3E}">
        <p14:creationId xmlns:p14="http://schemas.microsoft.com/office/powerpoint/2010/main" val="2264474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8494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753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ыдвигать объяснительные гипотезы и предлагать способы их проверк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53454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?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70821" y="1307123"/>
            <a:ext cx="110051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не просто сформулировать гипотезы, объясняющие описанное явление, но и обязательно предложить возможные способы их проверки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307129"/>
            <a:ext cx="5956914" cy="185652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7097" y="3851329"/>
            <a:ext cx="5588884" cy="256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142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8494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97018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Описывать и оценивать способы, которые используют учёные, чтобы обеспечить надёжность данных и достоверность объяснений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3016" y="2435035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53018" y="1163998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?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53017" y="1533330"/>
            <a:ext cx="1132602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охарактеризовать назначение того или иного элемента исследования, повышающего надежность результата (контрольная группа, контрольный образец, большая статистика и др.). Или: предлагается выбрать более надежную стратегию исследования вопроса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016" y="2822843"/>
            <a:ext cx="5573692" cy="148382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5043" y="3867783"/>
            <a:ext cx="5731585" cy="227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444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882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Тема урока: «Диффузия. Броуновское движение»</a:t>
            </a:r>
            <a:endParaRPr lang="ru-RU" sz="2400" b="1" dirty="0">
              <a:solidFill>
                <a:srgbClr val="002060"/>
              </a:solidFill>
            </a:endParaRPr>
          </a:p>
        </p:txBody>
      </p:sp>
      <p:pic>
        <p:nvPicPr>
          <p:cNvPr id="15" name="Picture 4" descr="Физика. 7 класс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4494" y="817562"/>
            <a:ext cx="1695461" cy="2193058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/>
          <p:cNvSpPr txBox="1"/>
          <p:nvPr/>
        </p:nvSpPr>
        <p:spPr>
          <a:xfrm>
            <a:off x="389223" y="3042569"/>
            <a:ext cx="15597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Громова С.В., Родиной Н.А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1438" y="3473456"/>
            <a:ext cx="1561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4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232279" y="817562"/>
            <a:ext cx="45184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u="sng" dirty="0">
                <a:solidFill>
                  <a:srgbClr val="002060"/>
                </a:solidFill>
              </a:rPr>
              <a:t>Тип урока: </a:t>
            </a:r>
            <a:r>
              <a:rPr lang="ru-RU" dirty="0">
                <a:solidFill>
                  <a:srgbClr val="002060"/>
                </a:solidFill>
              </a:rPr>
              <a:t>Урок изучения нового материал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232279" y="1186894"/>
            <a:ext cx="857661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u="sng" dirty="0">
                <a:solidFill>
                  <a:srgbClr val="002060"/>
                </a:solidFill>
              </a:rPr>
              <a:t>Задачи:</a:t>
            </a:r>
            <a:r>
              <a:rPr lang="ru-RU" dirty="0">
                <a:solidFill>
                  <a:srgbClr val="002060"/>
                </a:solidFill>
              </a:rPr>
              <a:t> </a:t>
            </a:r>
          </a:p>
          <a:p>
            <a:r>
              <a:rPr lang="ru-RU" b="1" i="1" dirty="0">
                <a:solidFill>
                  <a:srgbClr val="002060"/>
                </a:solidFill>
              </a:rPr>
              <a:t>сформировать </a:t>
            </a:r>
            <a:r>
              <a:rPr lang="ru-RU" b="1" i="1" dirty="0" smtClean="0">
                <a:solidFill>
                  <a:srgbClr val="002060"/>
                </a:solidFill>
              </a:rPr>
              <a:t>представления:</a:t>
            </a:r>
            <a:endParaRPr lang="ru-RU" b="1" i="1" dirty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о </a:t>
            </a:r>
            <a:r>
              <a:rPr lang="ru-RU" dirty="0">
                <a:solidFill>
                  <a:srgbClr val="002060"/>
                </a:solidFill>
              </a:rPr>
              <a:t>том, что молекулы непрерывно и хаотически движутся; из-за этого происходят такие явления, как диффузия, испарение, броуновское движение, давление газа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о </a:t>
            </a:r>
            <a:r>
              <a:rPr lang="ru-RU" dirty="0">
                <a:solidFill>
                  <a:srgbClr val="002060"/>
                </a:solidFill>
              </a:rPr>
              <a:t>том, что диффузия – явление самопроизвольного перемешивания веществ в твердом, жидком или газообразном состояниях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о </a:t>
            </a:r>
            <a:r>
              <a:rPr lang="ru-RU" dirty="0">
                <a:solidFill>
                  <a:srgbClr val="002060"/>
                </a:solidFill>
              </a:rPr>
              <a:t>том, что броуновское движение – это беспорядочное движение (дрожание) нерастворимых в жидкости или газе частичек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о </a:t>
            </a:r>
            <a:r>
              <a:rPr lang="ru-RU" dirty="0">
                <a:solidFill>
                  <a:srgbClr val="002060"/>
                </a:solidFill>
              </a:rPr>
              <a:t>том, что диффузия объясняется тем, что молекулы одного тела, непрерывно двигаясь, проникают между молекулами другого тела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о </a:t>
            </a:r>
            <a:r>
              <a:rPr lang="ru-RU" dirty="0">
                <a:solidFill>
                  <a:srgbClr val="002060"/>
                </a:solidFill>
              </a:rPr>
              <a:t>том, что давление газа объясняется тем, что одновременно большое число движущихся молекул ударяется о стенку сосуда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о </a:t>
            </a:r>
            <a:r>
              <a:rPr lang="ru-RU" dirty="0">
                <a:solidFill>
                  <a:srgbClr val="002060"/>
                </a:solidFill>
              </a:rPr>
              <a:t>том, что испарение объясняется тем, что некоторые молекулы вылетают через поверхность тела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о </a:t>
            </a:r>
            <a:r>
              <a:rPr lang="ru-RU" dirty="0">
                <a:solidFill>
                  <a:srgbClr val="002060"/>
                </a:solidFill>
              </a:rPr>
              <a:t>том, что броуновское движение объясняется тем, что число ударов молекул о частицу в каждый момент неодинаково с разных сторон</a:t>
            </a:r>
          </a:p>
        </p:txBody>
      </p:sp>
    </p:spTree>
    <p:extLst>
      <p:ext uri="{BB962C8B-B14F-4D97-AF65-F5344CB8AC3E}">
        <p14:creationId xmlns:p14="http://schemas.microsoft.com/office/powerpoint/2010/main" val="186357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8" grpId="0"/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882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Тема урока: «Диффузия. Броуновское движение»</a:t>
            </a:r>
            <a:endParaRPr lang="ru-RU" sz="2400" b="1" dirty="0">
              <a:solidFill>
                <a:srgbClr val="002060"/>
              </a:solidFill>
            </a:endParaRPr>
          </a:p>
        </p:txBody>
      </p:sp>
      <p:pic>
        <p:nvPicPr>
          <p:cNvPr id="15" name="Picture 4" descr="Физика. 7 класс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4494" y="817562"/>
            <a:ext cx="1695461" cy="2193058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/>
          <p:cNvSpPr txBox="1"/>
          <p:nvPr/>
        </p:nvSpPr>
        <p:spPr>
          <a:xfrm>
            <a:off x="389223" y="3042569"/>
            <a:ext cx="15597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Громова С.В., Родиной Н.А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1438" y="3473456"/>
            <a:ext cx="1561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4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658195" y="660286"/>
            <a:ext cx="27830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Планируемые результаты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3686906"/>
              </p:ext>
            </p:extLst>
          </p:nvPr>
        </p:nvGraphicFramePr>
        <p:xfrm>
          <a:off x="2410668" y="1098248"/>
          <a:ext cx="9278124" cy="521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2708">
                  <a:extLst>
                    <a:ext uri="{9D8B030D-6E8A-4147-A177-3AD203B41FA5}">
                      <a16:colId xmlns:a16="http://schemas.microsoft.com/office/drawing/2014/main" val="662263854"/>
                    </a:ext>
                  </a:extLst>
                </a:gridCol>
                <a:gridCol w="3092708">
                  <a:extLst>
                    <a:ext uri="{9D8B030D-6E8A-4147-A177-3AD203B41FA5}">
                      <a16:colId xmlns:a16="http://schemas.microsoft.com/office/drawing/2014/main" val="3917216505"/>
                    </a:ext>
                  </a:extLst>
                </a:gridCol>
                <a:gridCol w="3092708">
                  <a:extLst>
                    <a:ext uri="{9D8B030D-6E8A-4147-A177-3AD203B41FA5}">
                      <a16:colId xmlns:a16="http://schemas.microsoft.com/office/drawing/2014/main" val="11959443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Предметные: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познакомиться с понятиями «диффузия»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понимать, как движутся молекулы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доказывать размеры молекул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понимать, как происходит диффузия в жидкостях, газах и твердых телах</a:t>
                      </a:r>
                    </a:p>
                    <a:p>
                      <a:endParaRPr lang="ru-RU" sz="16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err="1" smtClean="0">
                          <a:solidFill>
                            <a:srgbClr val="002060"/>
                          </a:solidFill>
                        </a:rPr>
                        <a:t>Метапредметные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«создавать» постулат о движении молекул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распознавать диффузию, давление газа, испарение и броуновское движение и описывать поведение молекул в конкретных ситуациях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проводить по самостоятельно составленному плану небольшое исследование по установлению особенностей объекта изучения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конструировать способ решения учебной задачи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осуществлять контроль результата и процесса деятельности по заданным критериям</a:t>
                      </a:r>
                    </a:p>
                    <a:p>
                      <a:endParaRPr lang="ru-RU" sz="16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Личностные: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стремиться к формированию способности к успешной адаптации в окружающем мире с учетом изменяющейся природной, социальной и информационной среды;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овладевать умениями рефлексии на себя и окружающих</a:t>
                      </a:r>
                    </a:p>
                    <a:p>
                      <a:endParaRPr lang="ru-RU" sz="16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423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3268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37819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РИ ПОДГОТОВКЕ К УРОКУ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05638" y="2815507"/>
            <a:ext cx="2316792" cy="107272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тап</a:t>
            </a:r>
            <a:endParaRPr lang="ru-RU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018688" y="2773038"/>
            <a:ext cx="3286664" cy="1072914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рмируемое умение</a:t>
            </a:r>
            <a:endParaRPr lang="ru-RU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8701610" y="2782742"/>
            <a:ext cx="2316792" cy="107272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дание</a:t>
            </a:r>
            <a:endParaRPr lang="ru-RU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5" name="Picture 4" descr="Физика. 7 класс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8451" y="570169"/>
            <a:ext cx="1255513" cy="153308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8450" y="4534948"/>
            <a:ext cx="1255513" cy="153308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73" descr="Физика. 9 класс. В 3-х ч. Ч.3 (для слабовидящих обучающихся)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7270" y="4534948"/>
            <a:ext cx="1255513" cy="153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494106" y="2135221"/>
            <a:ext cx="824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Учебник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453197" y="6110500"/>
            <a:ext cx="9060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Задачник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913885" y="6110500"/>
            <a:ext cx="15422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Самостоятельные</a:t>
            </a:r>
          </a:p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работы</a:t>
            </a:r>
            <a:endParaRPr lang="ru-RU" sz="1400" dirty="0">
              <a:solidFill>
                <a:srgbClr val="002060"/>
              </a:solidFill>
            </a:endParaRPr>
          </a:p>
        </p:txBody>
      </p:sp>
      <p:pic>
        <p:nvPicPr>
          <p:cNvPr id="21" name="Picture 73" descr="Физика. 9 класс. В 3-х ч. Ч.3 (для слабовидящих обучающихся)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7270" y="572540"/>
            <a:ext cx="1255513" cy="153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9977429" y="2131050"/>
            <a:ext cx="14787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Технологические</a:t>
            </a:r>
          </a:p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карты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8" name="Стрелка вниз 7"/>
          <p:cNvSpPr/>
          <p:nvPr/>
        </p:nvSpPr>
        <p:spPr>
          <a:xfrm rot="5400000">
            <a:off x="3063150" y="2814457"/>
            <a:ext cx="508958" cy="1009291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низ 24"/>
          <p:cNvSpPr/>
          <p:nvPr/>
        </p:nvSpPr>
        <p:spPr>
          <a:xfrm rot="16200000">
            <a:off x="7694073" y="2804850"/>
            <a:ext cx="508958" cy="1009291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6352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2" grpId="0" animBg="1"/>
      <p:bldP spid="14" grpId="0" animBg="1"/>
      <p:bldP spid="7" grpId="0"/>
      <p:bldP spid="19" grpId="0"/>
      <p:bldP spid="20" grpId="0"/>
      <p:bldP spid="22" grpId="0"/>
      <p:bldP spid="8" grpId="0" animBg="1"/>
      <p:bldP spid="2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30315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араграф в учебнике</a:t>
            </a:r>
            <a:endParaRPr lang="ru-RU" sz="2400" b="1" dirty="0">
              <a:solidFill>
                <a:srgbClr val="00206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574" y="742080"/>
            <a:ext cx="3912485" cy="573009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5059" y="740853"/>
            <a:ext cx="4065151" cy="573132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2395" y="740853"/>
            <a:ext cx="3964416" cy="5731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686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30315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араграф в учебнике</a:t>
            </a:r>
            <a:endParaRPr lang="ru-RU" sz="2400" b="1" dirty="0">
              <a:solidFill>
                <a:srgbClr val="00206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419" y="711831"/>
            <a:ext cx="4089913" cy="580503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764567" y="589185"/>
            <a:ext cx="69079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Какие компетенции и умения мы можем сформировать на уроке?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006513" y="1004771"/>
            <a:ext cx="2424023" cy="405442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ОМПЕТЕНЦИЯ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434227" y="1743767"/>
            <a:ext cx="2424023" cy="405442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</a:rPr>
              <a:t>научное объяснение явлений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008650" y="1743767"/>
            <a:ext cx="2424023" cy="405442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</a:rPr>
              <a:t>понимание особенностей </a:t>
            </a:r>
            <a:r>
              <a:rPr lang="ru-RU" sz="1400" b="1" dirty="0" err="1" smtClean="0">
                <a:solidFill>
                  <a:srgbClr val="002060"/>
                </a:solidFill>
              </a:rPr>
              <a:t>ест.науч</a:t>
            </a:r>
            <a:r>
              <a:rPr lang="ru-RU" sz="1400" b="1" dirty="0" smtClean="0">
                <a:solidFill>
                  <a:srgbClr val="002060"/>
                </a:solidFill>
              </a:rPr>
              <a:t>. </a:t>
            </a:r>
            <a:r>
              <a:rPr lang="ru-RU" sz="1400" b="1" dirty="0">
                <a:solidFill>
                  <a:srgbClr val="002060"/>
                </a:solidFill>
              </a:rPr>
              <a:t>исследования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573659" y="1743767"/>
            <a:ext cx="2424023" cy="405442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</a:rPr>
              <a:t>интерпретация данных </a:t>
            </a:r>
          </a:p>
        </p:txBody>
      </p:sp>
      <p:sp>
        <p:nvSpPr>
          <p:cNvPr id="10" name="Стрелка вниз 9"/>
          <p:cNvSpPr/>
          <p:nvPr/>
        </p:nvSpPr>
        <p:spPr>
          <a:xfrm>
            <a:off x="5391759" y="2149209"/>
            <a:ext cx="508958" cy="292066"/>
          </a:xfrm>
          <a:prstGeom prst="downArrow">
            <a:avLst>
              <a:gd name="adj1" fmla="val 29661"/>
              <a:gd name="adj2" fmla="val 5886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низ 18"/>
          <p:cNvSpPr/>
          <p:nvPr/>
        </p:nvSpPr>
        <p:spPr>
          <a:xfrm>
            <a:off x="7931923" y="2144937"/>
            <a:ext cx="508958" cy="292066"/>
          </a:xfrm>
          <a:prstGeom prst="downArrow">
            <a:avLst>
              <a:gd name="adj1" fmla="val 29661"/>
              <a:gd name="adj2" fmla="val 5886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низ 19"/>
          <p:cNvSpPr/>
          <p:nvPr/>
        </p:nvSpPr>
        <p:spPr>
          <a:xfrm>
            <a:off x="10531191" y="2144937"/>
            <a:ext cx="508958" cy="292066"/>
          </a:xfrm>
          <a:prstGeom prst="downArrow">
            <a:avLst>
              <a:gd name="adj1" fmla="val 29661"/>
              <a:gd name="adj2" fmla="val 5886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кругленный прямоугольник 20">
            <a:hlinkClick r:id="rId5" action="ppaction://hlinksldjump"/>
          </p:cNvPr>
          <p:cNvSpPr/>
          <p:nvPr/>
        </p:nvSpPr>
        <p:spPr>
          <a:xfrm>
            <a:off x="4430976" y="2475231"/>
            <a:ext cx="2430526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Применить соответствующие естественнонаучные знания для объяснения явления</a:t>
            </a:r>
          </a:p>
        </p:txBody>
      </p:sp>
      <p:sp>
        <p:nvSpPr>
          <p:cNvPr id="22" name="Скругленный прямоугольник 21">
            <a:hlinkClick r:id="rId6" action="ppaction://hlinksldjump"/>
          </p:cNvPr>
          <p:cNvSpPr/>
          <p:nvPr/>
        </p:nvSpPr>
        <p:spPr>
          <a:xfrm>
            <a:off x="4430976" y="3219890"/>
            <a:ext cx="2427274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Распознавать, использовать и создавать объяснительные модели и представления</a:t>
            </a:r>
          </a:p>
        </p:txBody>
      </p:sp>
      <p:sp>
        <p:nvSpPr>
          <p:cNvPr id="23" name="Скругленный прямоугольник 22">
            <a:hlinkClick r:id="rId7" action="ppaction://hlinksldjump"/>
          </p:cNvPr>
          <p:cNvSpPr/>
          <p:nvPr/>
        </p:nvSpPr>
        <p:spPr>
          <a:xfrm>
            <a:off x="4430976" y="3971179"/>
            <a:ext cx="2427274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Делать и научно обосновывать прогнозы о протекании процесса или явления</a:t>
            </a:r>
          </a:p>
        </p:txBody>
      </p:sp>
      <p:sp>
        <p:nvSpPr>
          <p:cNvPr id="25" name="Скругленный прямоугольник 24">
            <a:hlinkClick r:id="rId8" action="ppaction://hlinksldjump"/>
          </p:cNvPr>
          <p:cNvSpPr/>
          <p:nvPr/>
        </p:nvSpPr>
        <p:spPr>
          <a:xfrm>
            <a:off x="4430976" y="4727832"/>
            <a:ext cx="2427274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Объяснять принцип действия технического устройства или технологии</a:t>
            </a:r>
          </a:p>
        </p:txBody>
      </p:sp>
      <p:sp>
        <p:nvSpPr>
          <p:cNvPr id="26" name="Скругленный прямоугольник 25">
            <a:hlinkClick r:id="rId9" action="ppaction://hlinksldjump"/>
          </p:cNvPr>
          <p:cNvSpPr/>
          <p:nvPr/>
        </p:nvSpPr>
        <p:spPr>
          <a:xfrm>
            <a:off x="7008650" y="2472191"/>
            <a:ext cx="2424023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Распознавать и формулировать цель данного исследования</a:t>
            </a:r>
          </a:p>
        </p:txBody>
      </p:sp>
      <p:sp>
        <p:nvSpPr>
          <p:cNvPr id="27" name="Скругленный прямоугольник 26">
            <a:hlinkClick r:id="rId10" action="ppaction://hlinksldjump"/>
          </p:cNvPr>
          <p:cNvSpPr/>
          <p:nvPr/>
        </p:nvSpPr>
        <p:spPr>
          <a:xfrm>
            <a:off x="7005398" y="3215877"/>
            <a:ext cx="2427275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Предлагать или оценивать способ научного исследования данного вопроса</a:t>
            </a:r>
          </a:p>
        </p:txBody>
      </p:sp>
      <p:sp>
        <p:nvSpPr>
          <p:cNvPr id="28" name="Скругленный прямоугольник 27">
            <a:hlinkClick r:id="rId11" action="ppaction://hlinksldjump"/>
          </p:cNvPr>
          <p:cNvSpPr/>
          <p:nvPr/>
        </p:nvSpPr>
        <p:spPr>
          <a:xfrm>
            <a:off x="7005398" y="3971179"/>
            <a:ext cx="2427275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Выдвигать объяснительные гипотезы и предлагать способы их проверки</a:t>
            </a:r>
          </a:p>
        </p:txBody>
      </p:sp>
      <p:sp>
        <p:nvSpPr>
          <p:cNvPr id="29" name="Скругленный прямоугольник 28">
            <a:hlinkClick r:id="rId12" action="ppaction://hlinksldjump"/>
          </p:cNvPr>
          <p:cNvSpPr/>
          <p:nvPr/>
        </p:nvSpPr>
        <p:spPr>
          <a:xfrm>
            <a:off x="7005398" y="4726481"/>
            <a:ext cx="2427275" cy="93786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Описывать и оценивать способы, которые используют учёные, чтобы обеспечить надёжность данных и достоверность объяснений</a:t>
            </a:r>
          </a:p>
        </p:txBody>
      </p:sp>
      <p:sp>
        <p:nvSpPr>
          <p:cNvPr id="30" name="Скругленный прямоугольник 29">
            <a:hlinkClick r:id="rId13" action="ppaction://hlinksldjump"/>
          </p:cNvPr>
          <p:cNvSpPr/>
          <p:nvPr/>
        </p:nvSpPr>
        <p:spPr>
          <a:xfrm>
            <a:off x="9573658" y="2472191"/>
            <a:ext cx="2424023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Анализировать, интерпретировать данные и делать соответствующие выводы</a:t>
            </a:r>
          </a:p>
        </p:txBody>
      </p:sp>
      <p:sp>
        <p:nvSpPr>
          <p:cNvPr id="31" name="Скругленный прямоугольник 30">
            <a:hlinkClick r:id="rId14" action="ppaction://hlinksldjump"/>
          </p:cNvPr>
          <p:cNvSpPr/>
          <p:nvPr/>
        </p:nvSpPr>
        <p:spPr>
          <a:xfrm>
            <a:off x="9573657" y="3220445"/>
            <a:ext cx="2424023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Преобразовывать одну форму представления данных в другую</a:t>
            </a:r>
          </a:p>
        </p:txBody>
      </p:sp>
      <p:sp>
        <p:nvSpPr>
          <p:cNvPr id="32" name="Скругленный прямоугольник 31">
            <a:hlinkClick r:id="rId15" action="ppaction://hlinksldjump"/>
          </p:cNvPr>
          <p:cNvSpPr/>
          <p:nvPr/>
        </p:nvSpPr>
        <p:spPr>
          <a:xfrm>
            <a:off x="9573656" y="3965212"/>
            <a:ext cx="2424023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Распознавать допущения, доказательства и рассуждения в научных текстах</a:t>
            </a:r>
          </a:p>
        </p:txBody>
      </p:sp>
      <p:sp>
        <p:nvSpPr>
          <p:cNvPr id="33" name="Скругленный прямоугольник 32">
            <a:hlinkClick r:id="rId16" action="ppaction://hlinksldjump"/>
          </p:cNvPr>
          <p:cNvSpPr/>
          <p:nvPr/>
        </p:nvSpPr>
        <p:spPr>
          <a:xfrm>
            <a:off x="9573655" y="4721031"/>
            <a:ext cx="2424023" cy="71780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Оценивать c научной точки зрения аргументы и доказательства из различных источников</a:t>
            </a:r>
          </a:p>
        </p:txBody>
      </p:sp>
      <p:cxnSp>
        <p:nvCxnSpPr>
          <p:cNvPr id="12" name="Прямая со стрелкой 11"/>
          <p:cNvCxnSpPr>
            <a:stCxn id="9" idx="2"/>
            <a:endCxn id="15" idx="0"/>
          </p:cNvCxnSpPr>
          <p:nvPr/>
        </p:nvCxnSpPr>
        <p:spPr>
          <a:xfrm flipH="1">
            <a:off x="5646239" y="1410213"/>
            <a:ext cx="2572286" cy="3335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>
            <a:stCxn id="9" idx="2"/>
            <a:endCxn id="16" idx="0"/>
          </p:cNvCxnSpPr>
          <p:nvPr/>
        </p:nvCxnSpPr>
        <p:spPr>
          <a:xfrm>
            <a:off x="8218525" y="1410213"/>
            <a:ext cx="2137" cy="3335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9" idx="2"/>
            <a:endCxn id="17" idx="0"/>
          </p:cNvCxnSpPr>
          <p:nvPr/>
        </p:nvCxnSpPr>
        <p:spPr>
          <a:xfrm>
            <a:off x="8218525" y="1410213"/>
            <a:ext cx="2567146" cy="3335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8290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5" grpId="0" animBg="1"/>
      <p:bldP spid="16" grpId="0" animBg="1"/>
      <p:bldP spid="17" grpId="0" animBg="1"/>
      <p:bldP spid="10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671" y="720307"/>
            <a:ext cx="1390348" cy="1695546"/>
          </a:xfrm>
          <a:prstGeom prst="roundRect">
            <a:avLst>
              <a:gd name="adj" fmla="val 12944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5" name="TextBox 4"/>
          <p:cNvSpPr txBox="1"/>
          <p:nvPr/>
        </p:nvSpPr>
        <p:spPr>
          <a:xfrm>
            <a:off x="248671" y="2444188"/>
            <a:ext cx="13696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</a:rPr>
              <a:t>Роберт Броун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36826" y="720307"/>
            <a:ext cx="14935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Опыт Броун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836826" y="1090494"/>
            <a:ext cx="975707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2060"/>
                </a:solidFill>
              </a:rPr>
              <a:t>1. Броун</a:t>
            </a:r>
            <a:r>
              <a:rPr lang="ru-RU" sz="1600" dirty="0">
                <a:solidFill>
                  <a:srgbClr val="002060"/>
                </a:solidFill>
              </a:rPr>
              <a:t>, занимаясь изучением поведения цветочной пыльцы в жидкости под микроскопом (он изучал водную взвесь пыльцы </a:t>
            </a:r>
            <a:r>
              <a:rPr lang="ru-RU" sz="1600" dirty="0" smtClean="0">
                <a:solidFill>
                  <a:srgbClr val="002060"/>
                </a:solidFill>
              </a:rPr>
              <a:t>растения </a:t>
            </a:r>
            <a:r>
              <a:rPr lang="ru-RU" sz="1600" i="1" dirty="0" err="1" smtClean="0">
                <a:solidFill>
                  <a:srgbClr val="002060"/>
                </a:solidFill>
              </a:rPr>
              <a:t>Clarkia</a:t>
            </a:r>
            <a:r>
              <a:rPr lang="ru-RU" sz="1600" i="1" dirty="0" smtClean="0">
                <a:solidFill>
                  <a:srgbClr val="002060"/>
                </a:solidFill>
              </a:rPr>
              <a:t> </a:t>
            </a:r>
            <a:r>
              <a:rPr lang="ru-RU" sz="1600" i="1" dirty="0" err="1">
                <a:solidFill>
                  <a:srgbClr val="002060"/>
                </a:solidFill>
              </a:rPr>
              <a:t>pulchella</a:t>
            </a:r>
            <a:r>
              <a:rPr lang="ru-RU" sz="1600" dirty="0" smtClean="0">
                <a:solidFill>
                  <a:srgbClr val="002060"/>
                </a:solidFill>
              </a:rPr>
              <a:t>)</a:t>
            </a:r>
          </a:p>
          <a:p>
            <a:r>
              <a:rPr lang="ru-RU" sz="1600" dirty="0">
                <a:solidFill>
                  <a:srgbClr val="002060"/>
                </a:solidFill>
              </a:rPr>
              <a:t>Споры хаотично двигались </a:t>
            </a:r>
            <a:r>
              <a:rPr lang="ru-RU" sz="1600" dirty="0" smtClean="0">
                <a:solidFill>
                  <a:srgbClr val="002060"/>
                </a:solidFill>
              </a:rPr>
              <a:t>без видимых </a:t>
            </a:r>
            <a:r>
              <a:rPr lang="ru-RU" sz="1600" dirty="0">
                <a:solidFill>
                  <a:srgbClr val="002060"/>
                </a:solidFill>
              </a:rPr>
              <a:t>на то причин</a:t>
            </a:r>
            <a:r>
              <a:rPr lang="ru-RU" sz="1600" dirty="0" smtClean="0">
                <a:solidFill>
                  <a:srgbClr val="002060"/>
                </a:solidFill>
              </a:rPr>
              <a:t>. </a:t>
            </a:r>
          </a:p>
          <a:p>
            <a:r>
              <a:rPr lang="ru-RU" sz="1600" dirty="0" smtClean="0">
                <a:solidFill>
                  <a:srgbClr val="002060"/>
                </a:solidFill>
              </a:rPr>
              <a:t>2. </a:t>
            </a:r>
            <a:r>
              <a:rPr lang="ru-RU" sz="1600" dirty="0">
                <a:solidFill>
                  <a:srgbClr val="002060"/>
                </a:solidFill>
              </a:rPr>
              <a:t>Броун </a:t>
            </a:r>
            <a:r>
              <a:rPr lang="ru-RU" sz="1600" dirty="0" smtClean="0">
                <a:solidFill>
                  <a:srgbClr val="002060"/>
                </a:solidFill>
              </a:rPr>
              <a:t>установил</a:t>
            </a:r>
            <a:r>
              <a:rPr lang="ru-RU" sz="1600" dirty="0">
                <a:solidFill>
                  <a:srgbClr val="002060"/>
                </a:solidFill>
              </a:rPr>
              <a:t>, что хаотичное движение частиц пыльцы в воде </a:t>
            </a:r>
            <a:r>
              <a:rPr lang="ru-RU" sz="1600" b="1" dirty="0" smtClean="0">
                <a:solidFill>
                  <a:srgbClr val="002060"/>
                </a:solidFill>
              </a:rPr>
              <a:t>не связано </a:t>
            </a:r>
            <a:r>
              <a:rPr lang="ru-RU" sz="1600" b="1" dirty="0">
                <a:solidFill>
                  <a:srgbClr val="002060"/>
                </a:solidFill>
              </a:rPr>
              <a:t>ни с потоками в жидкости, ни с её испарением</a:t>
            </a:r>
            <a:r>
              <a:rPr lang="ru-RU" sz="1600" dirty="0" smtClean="0">
                <a:solidFill>
                  <a:srgbClr val="002060"/>
                </a:solidFill>
              </a:rPr>
              <a:t>.</a:t>
            </a:r>
          </a:p>
          <a:p>
            <a:r>
              <a:rPr lang="ru-RU" sz="1600" dirty="0">
                <a:solidFill>
                  <a:srgbClr val="002060"/>
                </a:solidFill>
              </a:rPr>
              <a:t>3. Броун провёл опыты с мельчайшими частичками </a:t>
            </a:r>
            <a:r>
              <a:rPr lang="ru-RU" sz="1600" dirty="0" smtClean="0">
                <a:solidFill>
                  <a:srgbClr val="002060"/>
                </a:solidFill>
              </a:rPr>
              <a:t>угля, сажи</a:t>
            </a:r>
            <a:r>
              <a:rPr lang="ru-RU" sz="1600" dirty="0">
                <a:solidFill>
                  <a:srgbClr val="002060"/>
                </a:solidFill>
              </a:rPr>
              <a:t>, стекла и различных минералов. Он наблюдал беспорядочное движение всех частичек в воде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36826" y="2906376"/>
            <a:ext cx="1275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Проблема: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836825" y="3275708"/>
            <a:ext cx="96391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Роберт Броун не понимал, почему споры хаотично двигались без видимых на то причин.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671" y="3781103"/>
            <a:ext cx="1369670" cy="182575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41" name="TextBox 40"/>
          <p:cNvSpPr txBox="1"/>
          <p:nvPr/>
        </p:nvSpPr>
        <p:spPr>
          <a:xfrm>
            <a:off x="185336" y="5602861"/>
            <a:ext cx="15170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М. </a:t>
            </a:r>
            <a:r>
              <a:rPr lang="ru-RU" sz="1400" dirty="0" err="1" smtClean="0">
                <a:solidFill>
                  <a:srgbClr val="002060"/>
                </a:solidFill>
              </a:rPr>
              <a:t>Смолуховский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836824" y="3576413"/>
            <a:ext cx="2275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Идея исследования: </a:t>
            </a: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1004" y="3783100"/>
            <a:ext cx="1390349" cy="182175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44" name="TextBox 43"/>
          <p:cNvSpPr txBox="1"/>
          <p:nvPr/>
        </p:nvSpPr>
        <p:spPr>
          <a:xfrm>
            <a:off x="10661632" y="5602861"/>
            <a:ext cx="11490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А. Эйнштейн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836822" y="3865236"/>
            <a:ext cx="86201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u="sng" dirty="0">
                <a:solidFill>
                  <a:srgbClr val="002060"/>
                </a:solidFill>
              </a:rPr>
              <a:t>М. </a:t>
            </a:r>
            <a:r>
              <a:rPr lang="ru-RU" sz="1600" b="1" u="sng" dirty="0" err="1">
                <a:solidFill>
                  <a:srgbClr val="002060"/>
                </a:solidFill>
              </a:rPr>
              <a:t>Смолуховский</a:t>
            </a:r>
            <a:r>
              <a:rPr lang="ru-RU" sz="1600" b="1" u="sng" dirty="0">
                <a:solidFill>
                  <a:srgbClr val="002060"/>
                </a:solidFill>
              </a:rPr>
              <a:t>: </a:t>
            </a:r>
            <a:r>
              <a:rPr lang="ru-RU" sz="1600" dirty="0" smtClean="0">
                <a:solidFill>
                  <a:srgbClr val="002060"/>
                </a:solidFill>
              </a:rPr>
              <a:t>«Клапан </a:t>
            </a:r>
            <a:r>
              <a:rPr lang="ru-RU" sz="1600" dirty="0">
                <a:solidFill>
                  <a:srgbClr val="002060"/>
                </a:solidFill>
              </a:rPr>
              <a:t>в перегородке между двумя половинками сосуда будет испытывать на себе влияние броуновского движения молекул газа, отчего сам начинает колебаться, подобно частичкам пыльцы в воде</a:t>
            </a:r>
            <a:r>
              <a:rPr lang="ru-RU" sz="1600" dirty="0" smtClean="0">
                <a:solidFill>
                  <a:srgbClr val="002060"/>
                </a:solidFill>
              </a:rPr>
              <a:t>.»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948971" y="4848045"/>
            <a:ext cx="84714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u="sng" dirty="0" smtClean="0">
                <a:solidFill>
                  <a:srgbClr val="002060"/>
                </a:solidFill>
              </a:rPr>
              <a:t>А. </a:t>
            </a:r>
            <a:r>
              <a:rPr lang="ru-RU" sz="1600" b="1" u="sng" dirty="0">
                <a:solidFill>
                  <a:srgbClr val="002060"/>
                </a:solidFill>
              </a:rPr>
              <a:t>Эйнштейн:</a:t>
            </a:r>
            <a:r>
              <a:rPr lang="ru-RU" sz="1600" b="1" dirty="0">
                <a:solidFill>
                  <a:srgbClr val="002060"/>
                </a:solidFill>
              </a:rPr>
              <a:t> </a:t>
            </a:r>
            <a:r>
              <a:rPr lang="ru-RU" sz="1600" dirty="0" smtClean="0">
                <a:solidFill>
                  <a:srgbClr val="002060"/>
                </a:solidFill>
              </a:rPr>
              <a:t>«Эйнштейн </a:t>
            </a:r>
            <a:r>
              <a:rPr lang="ru-RU" sz="1600" dirty="0">
                <a:solidFill>
                  <a:srgbClr val="002060"/>
                </a:solidFill>
              </a:rPr>
              <a:t>объяснил, что взвешенная в воде спора подвергается постоянной «бомбардировке» со стороны </a:t>
            </a:r>
            <a:r>
              <a:rPr lang="ru-RU" sz="1600" dirty="0" smtClean="0">
                <a:solidFill>
                  <a:srgbClr val="002060"/>
                </a:solidFill>
              </a:rPr>
              <a:t>молекул воды</a:t>
            </a:r>
            <a:r>
              <a:rPr lang="ru-RU" sz="1600" dirty="0">
                <a:solidFill>
                  <a:srgbClr val="002060"/>
                </a:solidFill>
              </a:rPr>
              <a:t>. Удары молекул в частицу с разных сторон и </a:t>
            </a:r>
            <a:r>
              <a:rPr lang="ru-RU" sz="1600" dirty="0" smtClean="0">
                <a:solidFill>
                  <a:srgbClr val="002060"/>
                </a:solidFill>
              </a:rPr>
              <a:t>приводят к </a:t>
            </a:r>
            <a:r>
              <a:rPr lang="ru-RU" sz="1600" dirty="0">
                <a:solidFill>
                  <a:srgbClr val="002060"/>
                </a:solidFill>
              </a:rPr>
              <a:t>скачкообразным </a:t>
            </a:r>
            <a:r>
              <a:rPr lang="ru-RU" sz="1600" dirty="0" smtClean="0">
                <a:solidFill>
                  <a:srgbClr val="002060"/>
                </a:solidFill>
              </a:rPr>
              <a:t>перемещениям.»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47" name="Скругленный прямоугольник 46">
            <a:hlinkClick r:id="rId7" action="ppaction://hlinksldjump"/>
          </p:cNvPr>
          <p:cNvSpPr/>
          <p:nvPr/>
        </p:nvSpPr>
        <p:spPr>
          <a:xfrm>
            <a:off x="6488161" y="5600087"/>
            <a:ext cx="3078533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2060"/>
                </a:solidFill>
              </a:rPr>
              <a:t>Предлагать или оценивать способ научного исследования данного вопроса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948970" y="108504"/>
            <a:ext cx="6882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Тема урока: «Диффузия. Броуновское движение»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4068164" y="517667"/>
            <a:ext cx="30181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Изучение нового материала</a:t>
            </a:r>
            <a:endParaRPr 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957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41" grpId="0"/>
      <p:bldP spid="39" grpId="0"/>
      <p:bldP spid="44" grpId="0"/>
      <p:bldP spid="42" grpId="0"/>
      <p:bldP spid="43" grpId="0"/>
      <p:bldP spid="4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6391" y="775749"/>
            <a:ext cx="117204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Опыт: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В </a:t>
            </a:r>
            <a:r>
              <a:rPr lang="ru-RU" dirty="0">
                <a:solidFill>
                  <a:srgbClr val="002060"/>
                </a:solidFill>
              </a:rPr>
              <a:t>стеклянный сосуд наливают водный раствор медного купороса. Этот раствор имеет тёмно-голубой цвет. Поверх раствора в сосуд очень осторожно, чтобы не смешать жидкости, наливают чистую воду.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029" y="1699079"/>
            <a:ext cx="2076450" cy="20193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338117" y="1653832"/>
            <a:ext cx="5989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Вопрос:</a:t>
            </a:r>
            <a:r>
              <a:rPr lang="ru-RU" dirty="0" smtClean="0">
                <a:solidFill>
                  <a:srgbClr val="002060"/>
                </a:solidFill>
              </a:rPr>
              <a:t> Что мы можем узнать с помощью данного  опыта?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338117" y="1978363"/>
            <a:ext cx="90660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В начале опыта между двумя жидкостями видна резкая граница. Оставим сосуд в покое. Через несколько дней можно заметить, что граница раздела между жидкостями расплылась. А недели через две эта граница вообще исчезнет, и в сосуде будет находиться однородная жидкость бледно-голубого </a:t>
            </a:r>
            <a:r>
              <a:rPr lang="ru-RU" dirty="0" smtClean="0">
                <a:solidFill>
                  <a:srgbClr val="002060"/>
                </a:solidFill>
              </a:rPr>
              <a:t>цвета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364116" y="3138254"/>
            <a:ext cx="450700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Вопрос:</a:t>
            </a:r>
            <a:r>
              <a:rPr lang="ru-RU" dirty="0" smtClean="0">
                <a:solidFill>
                  <a:srgbClr val="002060"/>
                </a:solidFill>
              </a:rPr>
              <a:t> Что означает данный опыт?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Это </a:t>
            </a:r>
            <a:r>
              <a:rPr lang="ru-RU" dirty="0">
                <a:solidFill>
                  <a:srgbClr val="002060"/>
                </a:solidFill>
              </a:rPr>
              <a:t>означает, что жидкости перемешались. </a:t>
            </a:r>
          </a:p>
        </p:txBody>
      </p:sp>
      <p:sp>
        <p:nvSpPr>
          <p:cNvPr id="16" name="Скругленный прямоугольник 15">
            <a:hlinkClick r:id="rId5" action="ppaction://hlinksldjump"/>
          </p:cNvPr>
          <p:cNvSpPr/>
          <p:nvPr/>
        </p:nvSpPr>
        <p:spPr>
          <a:xfrm>
            <a:off x="8397502" y="3147425"/>
            <a:ext cx="2747826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Распознавать и формулировать цель данного исследовани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84029" y="4566782"/>
            <a:ext cx="103285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о материалам описанного опыта о диффузии в жидкостях, создайте модели движения частиц, т.е. что происходит с молекулами между этими состояниями, как молекула попадает из одной точки (А) в другую (Б)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84029" y="4206259"/>
            <a:ext cx="1091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Задание: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841455" y="5588305"/>
            <a:ext cx="2251494" cy="65171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7" name="Прямая соединительная линия 16"/>
          <p:cNvCxnSpPr>
            <a:stCxn id="14" idx="0"/>
            <a:endCxn id="14" idx="2"/>
          </p:cNvCxnSpPr>
          <p:nvPr/>
        </p:nvCxnSpPr>
        <p:spPr>
          <a:xfrm>
            <a:off x="2156233" y="5593002"/>
            <a:ext cx="0" cy="651713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Овал 42"/>
          <p:cNvSpPr/>
          <p:nvPr/>
        </p:nvSpPr>
        <p:spPr>
          <a:xfrm>
            <a:off x="3909605" y="5834968"/>
            <a:ext cx="140720" cy="15527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/>
          <p:cNvSpPr/>
          <p:nvPr/>
        </p:nvSpPr>
        <p:spPr>
          <a:xfrm>
            <a:off x="4596031" y="5990243"/>
            <a:ext cx="140720" cy="15527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/>
          <p:cNvSpPr/>
          <p:nvPr/>
        </p:nvSpPr>
        <p:spPr>
          <a:xfrm>
            <a:off x="4735054" y="5663168"/>
            <a:ext cx="140720" cy="15527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Овал 45"/>
          <p:cNvSpPr/>
          <p:nvPr/>
        </p:nvSpPr>
        <p:spPr>
          <a:xfrm>
            <a:off x="4421438" y="5641258"/>
            <a:ext cx="140720" cy="15527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/>
          <p:cNvSpPr/>
          <p:nvPr/>
        </p:nvSpPr>
        <p:spPr>
          <a:xfrm>
            <a:off x="5056017" y="5679692"/>
            <a:ext cx="140720" cy="155275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Овал 48"/>
          <p:cNvSpPr/>
          <p:nvPr/>
        </p:nvSpPr>
        <p:spPr>
          <a:xfrm>
            <a:off x="5063655" y="6034178"/>
            <a:ext cx="140720" cy="155275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Овал 49"/>
          <p:cNvSpPr/>
          <p:nvPr/>
        </p:nvSpPr>
        <p:spPr>
          <a:xfrm>
            <a:off x="5459478" y="5701643"/>
            <a:ext cx="140720" cy="155275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Овал 50"/>
          <p:cNvSpPr/>
          <p:nvPr/>
        </p:nvSpPr>
        <p:spPr>
          <a:xfrm>
            <a:off x="5440344" y="6012995"/>
            <a:ext cx="140720" cy="155275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Овал 51"/>
          <p:cNvSpPr/>
          <p:nvPr/>
        </p:nvSpPr>
        <p:spPr>
          <a:xfrm>
            <a:off x="5249387" y="5856918"/>
            <a:ext cx="140720" cy="155275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Овал 52"/>
          <p:cNvSpPr/>
          <p:nvPr/>
        </p:nvSpPr>
        <p:spPr>
          <a:xfrm>
            <a:off x="4337957" y="5843654"/>
            <a:ext cx="140720" cy="155275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/>
          <p:cNvSpPr txBox="1"/>
          <p:nvPr/>
        </p:nvSpPr>
        <p:spPr>
          <a:xfrm>
            <a:off x="4064219" y="5707564"/>
            <a:ext cx="3241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А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652225" y="592540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Б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6" name="Овал 55"/>
          <p:cNvSpPr/>
          <p:nvPr/>
        </p:nvSpPr>
        <p:spPr>
          <a:xfrm>
            <a:off x="4129142" y="5975229"/>
            <a:ext cx="140720" cy="15527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56"/>
          <p:cNvSpPr/>
          <p:nvPr/>
        </p:nvSpPr>
        <p:spPr>
          <a:xfrm>
            <a:off x="4093112" y="5664679"/>
            <a:ext cx="140720" cy="155275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Овал 57"/>
          <p:cNvSpPr/>
          <p:nvPr/>
        </p:nvSpPr>
        <p:spPr>
          <a:xfrm>
            <a:off x="5800601" y="5819954"/>
            <a:ext cx="140720" cy="155275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Овал 58"/>
          <p:cNvSpPr/>
          <p:nvPr/>
        </p:nvSpPr>
        <p:spPr>
          <a:xfrm>
            <a:off x="5552864" y="5866063"/>
            <a:ext cx="140720" cy="155275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9" name="Группа 88"/>
          <p:cNvGrpSpPr/>
          <p:nvPr/>
        </p:nvGrpSpPr>
        <p:grpSpPr>
          <a:xfrm>
            <a:off x="6548178" y="5588305"/>
            <a:ext cx="2251494" cy="676414"/>
            <a:chOff x="6548178" y="5588305"/>
            <a:chExt cx="2251494" cy="676414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6548178" y="5588305"/>
              <a:ext cx="2251494" cy="6517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740084" y="5677550"/>
              <a:ext cx="32412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FF0000"/>
                  </a:solidFill>
                </a:rPr>
                <a:t>А</a:t>
              </a:r>
              <a:endParaRPr lang="ru-RU" b="1" dirty="0">
                <a:solidFill>
                  <a:srgbClr val="FF0000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8328090" y="5895387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FF0000"/>
                  </a:solidFill>
                </a:rPr>
                <a:t>Б</a:t>
              </a:r>
              <a:endParaRPr lang="ru-RU" b="1" dirty="0">
                <a:solidFill>
                  <a:srgbClr val="FF0000"/>
                </a:solidFill>
              </a:endParaRPr>
            </a:p>
          </p:txBody>
        </p:sp>
        <p:sp>
          <p:nvSpPr>
            <p:cNvPr id="62" name="Овал 61"/>
            <p:cNvSpPr/>
            <p:nvPr/>
          </p:nvSpPr>
          <p:spPr>
            <a:xfrm>
              <a:off x="7002830" y="5825506"/>
              <a:ext cx="140720" cy="155275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Овал 62"/>
            <p:cNvSpPr/>
            <p:nvPr/>
          </p:nvSpPr>
          <p:spPr>
            <a:xfrm>
              <a:off x="7326099" y="5977587"/>
              <a:ext cx="140720" cy="155275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Овал 63"/>
            <p:cNvSpPr/>
            <p:nvPr/>
          </p:nvSpPr>
          <p:spPr>
            <a:xfrm>
              <a:off x="7354148" y="5684539"/>
              <a:ext cx="140720" cy="155275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Овал 64"/>
            <p:cNvSpPr/>
            <p:nvPr/>
          </p:nvSpPr>
          <p:spPr>
            <a:xfrm>
              <a:off x="8058776" y="5646065"/>
              <a:ext cx="140720" cy="155275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Овал 65"/>
            <p:cNvSpPr/>
            <p:nvPr/>
          </p:nvSpPr>
          <p:spPr>
            <a:xfrm>
              <a:off x="7070626" y="5637747"/>
              <a:ext cx="140720" cy="1552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Овал 66"/>
            <p:cNvSpPr/>
            <p:nvPr/>
          </p:nvSpPr>
          <p:spPr>
            <a:xfrm>
              <a:off x="7102524" y="6002782"/>
              <a:ext cx="140720" cy="1552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Овал 68"/>
            <p:cNvSpPr/>
            <p:nvPr/>
          </p:nvSpPr>
          <p:spPr>
            <a:xfrm>
              <a:off x="7473496" y="5853407"/>
              <a:ext cx="140720" cy="1552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Овал 69"/>
            <p:cNvSpPr/>
            <p:nvPr/>
          </p:nvSpPr>
          <p:spPr>
            <a:xfrm>
              <a:off x="7955509" y="6051799"/>
              <a:ext cx="140720" cy="1552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Овал 70"/>
            <p:cNvSpPr/>
            <p:nvPr/>
          </p:nvSpPr>
          <p:spPr>
            <a:xfrm>
              <a:off x="6700476" y="5904173"/>
              <a:ext cx="140720" cy="1552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2" name="Овал 71"/>
            <p:cNvSpPr/>
            <p:nvPr/>
          </p:nvSpPr>
          <p:spPr>
            <a:xfrm>
              <a:off x="7851388" y="5876287"/>
              <a:ext cx="140720" cy="155275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Овал 72"/>
            <p:cNvSpPr/>
            <p:nvPr/>
          </p:nvSpPr>
          <p:spPr>
            <a:xfrm>
              <a:off x="6823180" y="5652023"/>
              <a:ext cx="140720" cy="155275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Овал 73"/>
            <p:cNvSpPr/>
            <p:nvPr/>
          </p:nvSpPr>
          <p:spPr>
            <a:xfrm>
              <a:off x="8354999" y="5703991"/>
              <a:ext cx="140720" cy="1552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Овал 74"/>
            <p:cNvSpPr/>
            <p:nvPr/>
          </p:nvSpPr>
          <p:spPr>
            <a:xfrm>
              <a:off x="7791860" y="5631626"/>
              <a:ext cx="140720" cy="1552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Овал 75"/>
            <p:cNvSpPr/>
            <p:nvPr/>
          </p:nvSpPr>
          <p:spPr>
            <a:xfrm>
              <a:off x="8233920" y="5934555"/>
              <a:ext cx="140720" cy="155275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79" name="Скругленная соединительная линия 78"/>
          <p:cNvCxnSpPr>
            <a:endCxn id="55" idx="1"/>
          </p:cNvCxnSpPr>
          <p:nvPr/>
        </p:nvCxnSpPr>
        <p:spPr>
          <a:xfrm>
            <a:off x="4496987" y="5912739"/>
            <a:ext cx="1155238" cy="197328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Скругленный прямоугольник 80">
            <a:hlinkClick r:id="rId6" action="ppaction://hlinksldjump"/>
          </p:cNvPr>
          <p:cNvSpPr/>
          <p:nvPr/>
        </p:nvSpPr>
        <p:spPr>
          <a:xfrm>
            <a:off x="9089609" y="5610740"/>
            <a:ext cx="2780902" cy="621102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Преобразовывать одну форму представления данных в другую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1948970" y="108504"/>
            <a:ext cx="6882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Тема урока: «Диффузия. Броуновское движение»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4068164" y="517667"/>
            <a:ext cx="30181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Изучение нового материала</a:t>
            </a:r>
            <a:endParaRPr lang="ru-RU" b="1" dirty="0">
              <a:solidFill>
                <a:srgbClr val="002060"/>
              </a:solidFill>
            </a:endParaRPr>
          </a:p>
        </p:txBody>
      </p:sp>
      <p:grpSp>
        <p:nvGrpSpPr>
          <p:cNvPr id="88" name="Группа 87"/>
          <p:cNvGrpSpPr/>
          <p:nvPr/>
        </p:nvGrpSpPr>
        <p:grpSpPr>
          <a:xfrm>
            <a:off x="1030486" y="5593002"/>
            <a:ext cx="2251494" cy="702915"/>
            <a:chOff x="1030486" y="5593002"/>
            <a:chExt cx="2251494" cy="702915"/>
          </a:xfrm>
        </p:grpSpPr>
        <p:grpSp>
          <p:nvGrpSpPr>
            <p:cNvPr id="85" name="Группа 84"/>
            <p:cNvGrpSpPr/>
            <p:nvPr/>
          </p:nvGrpSpPr>
          <p:grpSpPr>
            <a:xfrm>
              <a:off x="1030486" y="5593002"/>
              <a:ext cx="2251494" cy="702915"/>
              <a:chOff x="1134732" y="5588307"/>
              <a:chExt cx="2251494" cy="702915"/>
            </a:xfrm>
          </p:grpSpPr>
          <p:sp>
            <p:nvSpPr>
              <p:cNvPr id="14" name="Скругленный прямоугольник 13"/>
              <p:cNvSpPr/>
              <p:nvPr/>
            </p:nvSpPr>
            <p:spPr>
              <a:xfrm>
                <a:off x="1134732" y="5588307"/>
                <a:ext cx="2251494" cy="6517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" name="Овал 17"/>
              <p:cNvSpPr/>
              <p:nvPr/>
            </p:nvSpPr>
            <p:spPr>
              <a:xfrm>
                <a:off x="1222254" y="5831457"/>
                <a:ext cx="140720" cy="155275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" name="Овал 26"/>
              <p:cNvSpPr/>
              <p:nvPr/>
            </p:nvSpPr>
            <p:spPr>
              <a:xfrm>
                <a:off x="1486526" y="5986732"/>
                <a:ext cx="140720" cy="155275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8" name="Овал 27"/>
              <p:cNvSpPr/>
              <p:nvPr/>
            </p:nvSpPr>
            <p:spPr>
              <a:xfrm>
                <a:off x="1450496" y="5676182"/>
                <a:ext cx="140720" cy="155275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" name="Овал 28"/>
              <p:cNvSpPr/>
              <p:nvPr/>
            </p:nvSpPr>
            <p:spPr>
              <a:xfrm>
                <a:off x="1908680" y="5986732"/>
                <a:ext cx="140720" cy="155275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" name="Овал 29"/>
              <p:cNvSpPr/>
              <p:nvPr/>
            </p:nvSpPr>
            <p:spPr>
              <a:xfrm>
                <a:off x="2047703" y="5659657"/>
                <a:ext cx="140720" cy="155275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" name="Овал 30"/>
              <p:cNvSpPr/>
              <p:nvPr/>
            </p:nvSpPr>
            <p:spPr>
              <a:xfrm>
                <a:off x="1734087" y="5637747"/>
                <a:ext cx="140720" cy="155275"/>
              </a:xfrm>
              <a:prstGeom prst="ellipse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" name="Овал 31"/>
              <p:cNvSpPr/>
              <p:nvPr/>
            </p:nvSpPr>
            <p:spPr>
              <a:xfrm>
                <a:off x="2368666" y="5676181"/>
                <a:ext cx="140720" cy="1552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" name="Овал 32"/>
              <p:cNvSpPr/>
              <p:nvPr/>
            </p:nvSpPr>
            <p:spPr>
              <a:xfrm>
                <a:off x="3157985" y="5831457"/>
                <a:ext cx="140720" cy="1552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" name="Овал 33"/>
              <p:cNvSpPr/>
              <p:nvPr/>
            </p:nvSpPr>
            <p:spPr>
              <a:xfrm>
                <a:off x="2376304" y="6030667"/>
                <a:ext cx="140720" cy="1552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" name="Овал 35"/>
              <p:cNvSpPr/>
              <p:nvPr/>
            </p:nvSpPr>
            <p:spPr>
              <a:xfrm>
                <a:off x="2772127" y="5698132"/>
                <a:ext cx="140720" cy="1552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" name="Овал 37"/>
              <p:cNvSpPr/>
              <p:nvPr/>
            </p:nvSpPr>
            <p:spPr>
              <a:xfrm>
                <a:off x="2752993" y="6009484"/>
                <a:ext cx="140720" cy="1552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" name="Овал 38"/>
              <p:cNvSpPr/>
              <p:nvPr/>
            </p:nvSpPr>
            <p:spPr>
              <a:xfrm>
                <a:off x="2562036" y="5853407"/>
                <a:ext cx="140720" cy="1552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0" name="Овал 39"/>
              <p:cNvSpPr/>
              <p:nvPr/>
            </p:nvSpPr>
            <p:spPr>
              <a:xfrm>
                <a:off x="2910248" y="5877566"/>
                <a:ext cx="140720" cy="1552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1" name="Овал 40"/>
              <p:cNvSpPr/>
              <p:nvPr/>
            </p:nvSpPr>
            <p:spPr>
              <a:xfrm>
                <a:off x="1650606" y="5840143"/>
                <a:ext cx="140720" cy="155275"/>
              </a:xfrm>
              <a:prstGeom prst="ellipse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1376868" y="5704053"/>
                <a:ext cx="3241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b="1" dirty="0" smtClean="0">
                    <a:solidFill>
                      <a:srgbClr val="FF0000"/>
                    </a:solidFill>
                  </a:rPr>
                  <a:t>А</a:t>
                </a:r>
                <a:endParaRPr lang="ru-RU" b="1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2964874" y="5921890"/>
                <a:ext cx="31290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b="1" dirty="0" smtClean="0">
                    <a:solidFill>
                      <a:srgbClr val="FF0000"/>
                    </a:solidFill>
                  </a:rPr>
                  <a:t>Б</a:t>
                </a:r>
                <a:endParaRPr lang="ru-RU" b="1" dirty="0">
                  <a:solidFill>
                    <a:srgbClr val="FF0000"/>
                  </a:solidFill>
                </a:endParaRPr>
              </a:p>
            </p:txBody>
          </p:sp>
        </p:grpSp>
        <p:cxnSp>
          <p:nvCxnSpPr>
            <p:cNvPr id="87" name="Прямая соединительная линия 86"/>
            <p:cNvCxnSpPr>
              <a:stCxn id="14" idx="0"/>
              <a:endCxn id="14" idx="2"/>
            </p:cNvCxnSpPr>
            <p:nvPr/>
          </p:nvCxnSpPr>
          <p:spPr>
            <a:xfrm>
              <a:off x="2156233" y="5593002"/>
              <a:ext cx="0" cy="651713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9904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9" grpId="0"/>
      <p:bldP spid="10" grpId="0"/>
      <p:bldP spid="16" grpId="0" animBg="1"/>
      <p:bldP spid="11" grpId="0"/>
      <p:bldP spid="12" grpId="0"/>
      <p:bldP spid="2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/>
      <p:bldP spid="55" grpId="0"/>
      <p:bldP spid="56" grpId="0" animBg="1"/>
      <p:bldP spid="57" grpId="0" animBg="1"/>
      <p:bldP spid="58" grpId="0" animBg="1"/>
      <p:bldP spid="81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882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Тема урока: «Диффузия. Броуновское движение»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68164" y="517667"/>
            <a:ext cx="30181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Изучение нового материал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7163" y="886999"/>
            <a:ext cx="91497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Гипотеза: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>
                <a:solidFill>
                  <a:srgbClr val="002060"/>
                </a:solidFill>
              </a:rPr>
              <a:t>Диффузия может происходить и в газах, и в жидкостях, и в твёрдых телах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27162" y="1256331"/>
            <a:ext cx="113753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smtClean="0">
                <a:solidFill>
                  <a:srgbClr val="002060"/>
                </a:solidFill>
              </a:rPr>
              <a:t>Пример из учебника: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>
                <a:solidFill>
                  <a:srgbClr val="002060"/>
                </a:solidFill>
              </a:rPr>
              <a:t>В одном из опытов гладко отшлифованные пластины свинца и золота положили одна на другую и прижали грузом. Через пять лет золото и свинец проникли друг в друга на 1 мм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7161" y="1902662"/>
            <a:ext cx="5272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Задание: </a:t>
            </a:r>
            <a:r>
              <a:rPr lang="ru-RU" dirty="0">
                <a:solidFill>
                  <a:srgbClr val="002060"/>
                </a:solidFill>
              </a:rPr>
              <a:t>Предложите способы проверки </a:t>
            </a:r>
            <a:r>
              <a:rPr lang="ru-RU" dirty="0" smtClean="0">
                <a:solidFill>
                  <a:srgbClr val="002060"/>
                </a:solidFill>
              </a:rPr>
              <a:t>гипотезы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4" name="Скругленный прямоугольник 13">
            <a:hlinkClick r:id="rId4" action="ppaction://hlinksldjump"/>
          </p:cNvPr>
          <p:cNvSpPr/>
          <p:nvPr/>
        </p:nvSpPr>
        <p:spPr>
          <a:xfrm>
            <a:off x="7453972" y="1921787"/>
            <a:ext cx="4022009" cy="621102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Выдвигать объяснительные гипотезы и предлагать способы их проверк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27161" y="2824770"/>
            <a:ext cx="1124882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Скорость протекания диффузии увеличивается с ростом температуры. Это происходит потому, что с повышением температуры увеличивается скорость движения молекул. Чем выше температура вещества, тем быстрее происходит диффузия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7161" y="3748100"/>
            <a:ext cx="9444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Задание: </a:t>
            </a:r>
            <a:r>
              <a:rPr lang="ru-RU" dirty="0">
                <a:solidFill>
                  <a:srgbClr val="002060"/>
                </a:solidFill>
              </a:rPr>
              <a:t>Приведите примеры увеличения температуры тела человека при участии диффузии</a:t>
            </a:r>
          </a:p>
        </p:txBody>
      </p:sp>
      <p:sp>
        <p:nvSpPr>
          <p:cNvPr id="17" name="Скругленный прямоугольник 16">
            <a:hlinkClick r:id="rId5" action="ppaction://hlinksldjump"/>
          </p:cNvPr>
          <p:cNvSpPr/>
          <p:nvPr/>
        </p:nvSpPr>
        <p:spPr>
          <a:xfrm>
            <a:off x="7453971" y="4193942"/>
            <a:ext cx="4022009" cy="621102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Делать и научно обосновывать прогнозы о протекании процесса или явления</a:t>
            </a:r>
          </a:p>
        </p:txBody>
      </p:sp>
    </p:spTree>
    <p:extLst>
      <p:ext uri="{BB962C8B-B14F-4D97-AF65-F5344CB8AC3E}">
        <p14:creationId xmlns:p14="http://schemas.microsoft.com/office/powerpoint/2010/main" val="2643967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4" grpId="0" animBg="1"/>
      <p:bldP spid="9" grpId="0"/>
      <p:bldP spid="16" grpId="0"/>
      <p:bldP spid="1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40697" y="6536602"/>
            <a:ext cx="388537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Freeform: Shape 2">
            <a:extLst/>
          </p:cNvPr>
          <p:cNvSpPr/>
          <p:nvPr/>
        </p:nvSpPr>
        <p:spPr>
          <a:xfrm>
            <a:off x="5410200" y="2268538"/>
            <a:ext cx="1598613" cy="1208087"/>
          </a:xfrm>
          <a:custGeom>
            <a:avLst/>
            <a:gdLst>
              <a:gd name="connsiteX0" fmla="*/ 0 w 1598807"/>
              <a:gd name="connsiteY0" fmla="*/ 0 h 1207370"/>
              <a:gd name="connsiteX1" fmla="*/ 1598807 w 1598807"/>
              <a:gd name="connsiteY1" fmla="*/ 0 h 1207370"/>
              <a:gd name="connsiteX2" fmla="*/ 802778 w 1598807"/>
              <a:gd name="connsiteY2" fmla="*/ 1207370 h 1207370"/>
              <a:gd name="connsiteX3" fmla="*/ 0 w 1598807"/>
              <a:gd name="connsiteY3" fmla="*/ 0 h 120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8807" h="1207370">
                <a:moveTo>
                  <a:pt x="0" y="0"/>
                </a:moveTo>
                <a:lnTo>
                  <a:pt x="1598807" y="0"/>
                </a:lnTo>
                <a:lnTo>
                  <a:pt x="802778" y="12073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Freeform: Shape 3">
            <a:extLst/>
          </p:cNvPr>
          <p:cNvSpPr/>
          <p:nvPr/>
        </p:nvSpPr>
        <p:spPr>
          <a:xfrm>
            <a:off x="6267450" y="2300288"/>
            <a:ext cx="1387475" cy="1195387"/>
          </a:xfrm>
          <a:custGeom>
            <a:avLst/>
            <a:gdLst>
              <a:gd name="connsiteX0" fmla="*/ 788959 w 1387282"/>
              <a:gd name="connsiteY0" fmla="*/ 0 h 1196645"/>
              <a:gd name="connsiteX1" fmla="*/ 1387282 w 1387282"/>
              <a:gd name="connsiteY1" fmla="*/ 1196645 h 1196645"/>
              <a:gd name="connsiteX2" fmla="*/ 0 w 1387282"/>
              <a:gd name="connsiteY2" fmla="*/ 1196645 h 1196645"/>
              <a:gd name="connsiteX3" fmla="*/ 788959 w 1387282"/>
              <a:gd name="connsiteY3" fmla="*/ 0 h 1196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7282" h="1196645">
                <a:moveTo>
                  <a:pt x="788959" y="0"/>
                </a:moveTo>
                <a:lnTo>
                  <a:pt x="1387282" y="1196645"/>
                </a:lnTo>
                <a:lnTo>
                  <a:pt x="0" y="1196645"/>
                </a:lnTo>
                <a:lnTo>
                  <a:pt x="78895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Freeform: Shape 4">
            <a:extLst/>
          </p:cNvPr>
          <p:cNvSpPr/>
          <p:nvPr/>
        </p:nvSpPr>
        <p:spPr>
          <a:xfrm>
            <a:off x="4770438" y="2305050"/>
            <a:ext cx="1387475" cy="1190625"/>
          </a:xfrm>
          <a:custGeom>
            <a:avLst/>
            <a:gdLst>
              <a:gd name="connsiteX0" fmla="*/ 595674 w 1387798"/>
              <a:gd name="connsiteY0" fmla="*/ 0 h 1191347"/>
              <a:gd name="connsiteX1" fmla="*/ 1387798 w 1387798"/>
              <a:gd name="connsiteY1" fmla="*/ 1191347 h 1191347"/>
              <a:gd name="connsiteX2" fmla="*/ 0 w 1387798"/>
              <a:gd name="connsiteY2" fmla="*/ 1191347 h 1191347"/>
              <a:gd name="connsiteX3" fmla="*/ 595674 w 1387798"/>
              <a:gd name="connsiteY3" fmla="*/ 0 h 119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7798" h="1191347">
                <a:moveTo>
                  <a:pt x="595674" y="0"/>
                </a:moveTo>
                <a:lnTo>
                  <a:pt x="1387798" y="1191347"/>
                </a:lnTo>
                <a:lnTo>
                  <a:pt x="0" y="1191347"/>
                </a:lnTo>
                <a:lnTo>
                  <a:pt x="595674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Freeform: Shape 5">
            <a:extLst/>
          </p:cNvPr>
          <p:cNvSpPr/>
          <p:nvPr/>
        </p:nvSpPr>
        <p:spPr>
          <a:xfrm>
            <a:off x="4770438" y="3552825"/>
            <a:ext cx="1392237" cy="1200150"/>
          </a:xfrm>
          <a:custGeom>
            <a:avLst/>
            <a:gdLst>
              <a:gd name="connsiteX0" fmla="*/ 0 w 1392168"/>
              <a:gd name="connsiteY0" fmla="*/ 0 h 1200860"/>
              <a:gd name="connsiteX1" fmla="*/ 1392168 w 1392168"/>
              <a:gd name="connsiteY1" fmla="*/ 0 h 1200860"/>
              <a:gd name="connsiteX2" fmla="*/ 600431 w 1392168"/>
              <a:gd name="connsiteY2" fmla="*/ 1200860 h 1200860"/>
              <a:gd name="connsiteX3" fmla="*/ 0 w 1392168"/>
              <a:gd name="connsiteY3" fmla="*/ 0 h 1200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92168" h="1200860">
                <a:moveTo>
                  <a:pt x="0" y="0"/>
                </a:moveTo>
                <a:lnTo>
                  <a:pt x="1392168" y="0"/>
                </a:lnTo>
                <a:lnTo>
                  <a:pt x="600431" y="120086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Freeform: Shape 6">
            <a:extLst/>
          </p:cNvPr>
          <p:cNvSpPr/>
          <p:nvPr/>
        </p:nvSpPr>
        <p:spPr>
          <a:xfrm>
            <a:off x="6262688" y="3552825"/>
            <a:ext cx="1392237" cy="1193800"/>
          </a:xfrm>
          <a:custGeom>
            <a:avLst/>
            <a:gdLst>
              <a:gd name="connsiteX0" fmla="*/ 0 w 1391164"/>
              <a:gd name="connsiteY0" fmla="*/ 0 h 1194236"/>
              <a:gd name="connsiteX1" fmla="*/ 1391164 w 1391164"/>
              <a:gd name="connsiteY1" fmla="*/ 0 h 1194236"/>
              <a:gd name="connsiteX2" fmla="*/ 794045 w 1391164"/>
              <a:gd name="connsiteY2" fmla="*/ 1194236 h 1194236"/>
              <a:gd name="connsiteX3" fmla="*/ 0 w 1391164"/>
              <a:gd name="connsiteY3" fmla="*/ 0 h 1194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91164" h="1194236">
                <a:moveTo>
                  <a:pt x="0" y="0"/>
                </a:moveTo>
                <a:lnTo>
                  <a:pt x="1391164" y="0"/>
                </a:lnTo>
                <a:lnTo>
                  <a:pt x="794045" y="11942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Freeform: Shape 7">
            <a:extLst/>
          </p:cNvPr>
          <p:cNvSpPr/>
          <p:nvPr/>
        </p:nvSpPr>
        <p:spPr>
          <a:xfrm>
            <a:off x="5421313" y="3578225"/>
            <a:ext cx="1590675" cy="1201738"/>
          </a:xfrm>
          <a:custGeom>
            <a:avLst/>
            <a:gdLst>
              <a:gd name="connsiteX0" fmla="*/ 791924 w 1590562"/>
              <a:gd name="connsiteY0" fmla="*/ 0 h 1201143"/>
              <a:gd name="connsiteX1" fmla="*/ 1590562 w 1590562"/>
              <a:gd name="connsiteY1" fmla="*/ 1201143 h 1201143"/>
              <a:gd name="connsiteX2" fmla="*/ 0 w 1590562"/>
              <a:gd name="connsiteY2" fmla="*/ 1201143 h 1201143"/>
              <a:gd name="connsiteX3" fmla="*/ 791924 w 1590562"/>
              <a:gd name="connsiteY3" fmla="*/ 0 h 1201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0562" h="1201143">
                <a:moveTo>
                  <a:pt x="791924" y="0"/>
                </a:moveTo>
                <a:lnTo>
                  <a:pt x="1590562" y="1201143"/>
                </a:lnTo>
                <a:lnTo>
                  <a:pt x="0" y="1201143"/>
                </a:lnTo>
                <a:lnTo>
                  <a:pt x="79192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Box 2"/>
          <p:cNvSpPr txBox="1">
            <a:spLocks noChangeArrowheads="1"/>
          </p:cNvSpPr>
          <p:nvPr/>
        </p:nvSpPr>
        <p:spPr bwMode="auto">
          <a:xfrm>
            <a:off x="7481887" y="2305050"/>
            <a:ext cx="312419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матическая </a:t>
            </a: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мотность (2022)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29479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Box 25"/>
          <p:cNvSpPr txBox="1">
            <a:spLocks noChangeArrowheads="1"/>
          </p:cNvSpPr>
          <p:nvPr/>
        </p:nvSpPr>
        <p:spPr bwMode="auto">
          <a:xfrm>
            <a:off x="2566988" y="3865563"/>
            <a:ext cx="195103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инансовая грамотность</a:t>
            </a:r>
          </a:p>
        </p:txBody>
      </p:sp>
      <p:sp>
        <p:nvSpPr>
          <p:cNvPr id="33" name="TextBox 26"/>
          <p:cNvSpPr txBox="1">
            <a:spLocks noChangeArrowheads="1"/>
          </p:cNvSpPr>
          <p:nvPr/>
        </p:nvSpPr>
        <p:spPr bwMode="auto">
          <a:xfrm>
            <a:off x="5086350" y="937355"/>
            <a:ext cx="2259013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тественно-научная </a:t>
            </a: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мотность (2025)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29479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Box 27"/>
          <p:cNvSpPr txBox="1">
            <a:spLocks noChangeArrowheads="1"/>
          </p:cNvSpPr>
          <p:nvPr/>
        </p:nvSpPr>
        <p:spPr bwMode="auto">
          <a:xfrm>
            <a:off x="5299075" y="4970463"/>
            <a:ext cx="190341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ативное </a:t>
            </a: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ышление (2022)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29479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Box 28"/>
          <p:cNvSpPr txBox="1">
            <a:spLocks noChangeArrowheads="1"/>
          </p:cNvSpPr>
          <p:nvPr/>
        </p:nvSpPr>
        <p:spPr bwMode="auto">
          <a:xfrm>
            <a:off x="7754938" y="3865563"/>
            <a:ext cx="202723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обальные компетенции</a:t>
            </a:r>
          </a:p>
        </p:txBody>
      </p:sp>
      <p:sp>
        <p:nvSpPr>
          <p:cNvPr id="37" name="TextBox 29"/>
          <p:cNvSpPr txBox="1">
            <a:spLocks noChangeArrowheads="1"/>
          </p:cNvSpPr>
          <p:nvPr/>
        </p:nvSpPr>
        <p:spPr bwMode="auto">
          <a:xfrm>
            <a:off x="2465388" y="2305050"/>
            <a:ext cx="206851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итательская грамотность</a:t>
            </a:r>
          </a:p>
        </p:txBody>
      </p:sp>
      <p:grpSp>
        <p:nvGrpSpPr>
          <p:cNvPr id="38" name="Группа 5"/>
          <p:cNvGrpSpPr>
            <a:grpSpLocks/>
          </p:cNvGrpSpPr>
          <p:nvPr/>
        </p:nvGrpSpPr>
        <p:grpSpPr bwMode="auto">
          <a:xfrm>
            <a:off x="1144588" y="1050925"/>
            <a:ext cx="10021887" cy="4954588"/>
            <a:chOff x="959667" y="1186993"/>
            <a:chExt cx="10022186" cy="4955454"/>
          </a:xfrm>
        </p:grpSpPr>
        <p:sp>
          <p:nvSpPr>
            <p:cNvPr id="39" name="Freeform: Shape 15">
              <a:extLst/>
            </p:cNvPr>
            <p:cNvSpPr/>
            <p:nvPr/>
          </p:nvSpPr>
          <p:spPr>
            <a:xfrm>
              <a:off x="3079042" y="1186993"/>
              <a:ext cx="5897739" cy="4955454"/>
            </a:xfrm>
            <a:custGeom>
              <a:avLst/>
              <a:gdLst>
                <a:gd name="connsiteX0" fmla="*/ 2107548 w 5898396"/>
                <a:gd name="connsiteY0" fmla="*/ 3703075 h 4955454"/>
                <a:gd name="connsiteX1" fmla="*/ 2120685 w 5898396"/>
                <a:gd name="connsiteY1" fmla="*/ 3729345 h 4955454"/>
                <a:gd name="connsiteX2" fmla="*/ 2157760 w 5898396"/>
                <a:gd name="connsiteY2" fmla="*/ 3729346 h 4955454"/>
                <a:gd name="connsiteX3" fmla="*/ 1349376 w 5898396"/>
                <a:gd name="connsiteY3" fmla="*/ 4955454 h 4955454"/>
                <a:gd name="connsiteX4" fmla="*/ 1302305 w 5898396"/>
                <a:gd name="connsiteY4" fmla="*/ 4924420 h 4955454"/>
                <a:gd name="connsiteX5" fmla="*/ 3794156 w 5898396"/>
                <a:gd name="connsiteY5" fmla="*/ 3696450 h 4955454"/>
                <a:gd name="connsiteX6" fmla="*/ 4605584 w 5898396"/>
                <a:gd name="connsiteY6" fmla="*/ 4916830 h 4955454"/>
                <a:gd name="connsiteX7" fmla="*/ 4558634 w 5898396"/>
                <a:gd name="connsiteY7" fmla="*/ 4948047 h 4955454"/>
                <a:gd name="connsiteX8" fmla="*/ 3748322 w 5898396"/>
                <a:gd name="connsiteY8" fmla="*/ 3729346 h 4955454"/>
                <a:gd name="connsiteX9" fmla="*/ 3777709 w 5898396"/>
                <a:gd name="connsiteY9" fmla="*/ 3729346 h 4955454"/>
                <a:gd name="connsiteX10" fmla="*/ 0 w 5898396"/>
                <a:gd name="connsiteY10" fmla="*/ 2445834 h 4955454"/>
                <a:gd name="connsiteX11" fmla="*/ 1507121 w 5898396"/>
                <a:gd name="connsiteY11" fmla="*/ 2445834 h 4955454"/>
                <a:gd name="connsiteX12" fmla="*/ 1493024 w 5898396"/>
                <a:gd name="connsiteY12" fmla="*/ 2474026 h 4955454"/>
                <a:gd name="connsiteX13" fmla="*/ 1507119 w 5898396"/>
                <a:gd name="connsiteY13" fmla="*/ 2502215 h 4955454"/>
                <a:gd name="connsiteX14" fmla="*/ 0 w 5898396"/>
                <a:gd name="connsiteY14" fmla="*/ 2502215 h 4955454"/>
                <a:gd name="connsiteX15" fmla="*/ 5898396 w 5898396"/>
                <a:gd name="connsiteY15" fmla="*/ 2445833 h 4955454"/>
                <a:gd name="connsiteX16" fmla="*/ 5898396 w 5898396"/>
                <a:gd name="connsiteY16" fmla="*/ 2502214 h 4955454"/>
                <a:gd name="connsiteX17" fmla="*/ 4391275 w 5898396"/>
                <a:gd name="connsiteY17" fmla="*/ 2502215 h 4955454"/>
                <a:gd name="connsiteX18" fmla="*/ 4405370 w 5898396"/>
                <a:gd name="connsiteY18" fmla="*/ 2474026 h 4955454"/>
                <a:gd name="connsiteX19" fmla="*/ 4391274 w 5898396"/>
                <a:gd name="connsiteY19" fmla="*/ 2445834 h 4955454"/>
                <a:gd name="connsiteX20" fmla="*/ 1339761 w 5898396"/>
                <a:gd name="connsiteY20" fmla="*/ 5063 h 4955454"/>
                <a:gd name="connsiteX21" fmla="*/ 2146708 w 5898396"/>
                <a:gd name="connsiteY21" fmla="*/ 1218705 h 4955454"/>
                <a:gd name="connsiteX22" fmla="*/ 2120684 w 5898396"/>
                <a:gd name="connsiteY22" fmla="*/ 1218705 h 4955454"/>
                <a:gd name="connsiteX23" fmla="*/ 2102794 w 5898396"/>
                <a:gd name="connsiteY23" fmla="*/ 1254487 h 4955454"/>
                <a:gd name="connsiteX24" fmla="*/ 1292811 w 5898396"/>
                <a:gd name="connsiteY24" fmla="*/ 36280 h 4955454"/>
                <a:gd name="connsiteX25" fmla="*/ 4549019 w 5898396"/>
                <a:gd name="connsiteY25" fmla="*/ 0 h 4955454"/>
                <a:gd name="connsiteX26" fmla="*/ 4596089 w 5898396"/>
                <a:gd name="connsiteY26" fmla="*/ 31034 h 4955454"/>
                <a:gd name="connsiteX27" fmla="*/ 3792950 w 5898396"/>
                <a:gd name="connsiteY27" fmla="*/ 1249188 h 4955454"/>
                <a:gd name="connsiteX28" fmla="*/ 3777708 w 5898396"/>
                <a:gd name="connsiteY28" fmla="*/ 1218705 h 4955454"/>
                <a:gd name="connsiteX29" fmla="*/ 3745515 w 5898396"/>
                <a:gd name="connsiteY29" fmla="*/ 1218706 h 495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898396" h="4955454">
                  <a:moveTo>
                    <a:pt x="2107548" y="3703075"/>
                  </a:moveTo>
                  <a:lnTo>
                    <a:pt x="2120685" y="3729345"/>
                  </a:lnTo>
                  <a:lnTo>
                    <a:pt x="2157760" y="3729346"/>
                  </a:lnTo>
                  <a:lnTo>
                    <a:pt x="1349376" y="4955454"/>
                  </a:lnTo>
                  <a:lnTo>
                    <a:pt x="1302305" y="4924420"/>
                  </a:lnTo>
                  <a:close/>
                  <a:moveTo>
                    <a:pt x="3794156" y="3696450"/>
                  </a:moveTo>
                  <a:lnTo>
                    <a:pt x="4605584" y="4916830"/>
                  </a:lnTo>
                  <a:lnTo>
                    <a:pt x="4558634" y="4948047"/>
                  </a:lnTo>
                  <a:lnTo>
                    <a:pt x="3748322" y="3729346"/>
                  </a:lnTo>
                  <a:lnTo>
                    <a:pt x="3777709" y="3729346"/>
                  </a:lnTo>
                  <a:close/>
                  <a:moveTo>
                    <a:pt x="0" y="2445834"/>
                  </a:moveTo>
                  <a:lnTo>
                    <a:pt x="1507121" y="2445834"/>
                  </a:lnTo>
                  <a:lnTo>
                    <a:pt x="1493024" y="2474026"/>
                  </a:lnTo>
                  <a:lnTo>
                    <a:pt x="1507119" y="2502215"/>
                  </a:lnTo>
                  <a:lnTo>
                    <a:pt x="0" y="2502215"/>
                  </a:lnTo>
                  <a:close/>
                  <a:moveTo>
                    <a:pt x="5898396" y="2445833"/>
                  </a:moveTo>
                  <a:lnTo>
                    <a:pt x="5898396" y="2502214"/>
                  </a:lnTo>
                  <a:lnTo>
                    <a:pt x="4391275" y="2502215"/>
                  </a:lnTo>
                  <a:lnTo>
                    <a:pt x="4405370" y="2474026"/>
                  </a:lnTo>
                  <a:lnTo>
                    <a:pt x="4391274" y="2445834"/>
                  </a:lnTo>
                  <a:close/>
                  <a:moveTo>
                    <a:pt x="1339761" y="5063"/>
                  </a:moveTo>
                  <a:lnTo>
                    <a:pt x="2146708" y="1218705"/>
                  </a:lnTo>
                  <a:lnTo>
                    <a:pt x="2120684" y="1218705"/>
                  </a:lnTo>
                  <a:lnTo>
                    <a:pt x="2102794" y="1254487"/>
                  </a:lnTo>
                  <a:lnTo>
                    <a:pt x="1292811" y="36280"/>
                  </a:lnTo>
                  <a:close/>
                  <a:moveTo>
                    <a:pt x="4549019" y="0"/>
                  </a:moveTo>
                  <a:lnTo>
                    <a:pt x="4596089" y="31034"/>
                  </a:lnTo>
                  <a:lnTo>
                    <a:pt x="3792950" y="1249188"/>
                  </a:lnTo>
                  <a:lnTo>
                    <a:pt x="3777708" y="1218705"/>
                  </a:lnTo>
                  <a:lnTo>
                    <a:pt x="3745515" y="12187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>
            <a:xfrm>
              <a:off x="959667" y="3649636"/>
              <a:ext cx="10022186" cy="19053"/>
            </a:xfrm>
            <a:prstGeom prst="line">
              <a:avLst/>
            </a:prstGeom>
            <a:ln w="5080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Box 6"/>
          <p:cNvSpPr txBox="1">
            <a:spLocks noChangeArrowheads="1"/>
          </p:cNvSpPr>
          <p:nvPr/>
        </p:nvSpPr>
        <p:spPr bwMode="auto">
          <a:xfrm rot="16200000">
            <a:off x="577056" y="1654969"/>
            <a:ext cx="1776413" cy="708025"/>
          </a:xfrm>
          <a:prstGeom prst="rect">
            <a:avLst/>
          </a:prstGeom>
          <a:solidFill>
            <a:srgbClr val="F8188D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новны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поненты</a:t>
            </a:r>
          </a:p>
        </p:txBody>
      </p:sp>
      <p:sp>
        <p:nvSpPr>
          <p:cNvPr id="42" name="TextBox 23"/>
          <p:cNvSpPr txBox="1">
            <a:spLocks noChangeArrowheads="1"/>
          </p:cNvSpPr>
          <p:nvPr/>
        </p:nvSpPr>
        <p:spPr bwMode="auto">
          <a:xfrm rot="16200000">
            <a:off x="255588" y="4616450"/>
            <a:ext cx="2419350" cy="708025"/>
          </a:xfrm>
          <a:prstGeom prst="rect">
            <a:avLst/>
          </a:prstGeom>
          <a:solidFill>
            <a:srgbClr val="F8188D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олнительны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поненты</a:t>
            </a:r>
          </a:p>
        </p:txBody>
      </p:sp>
      <p:sp>
        <p:nvSpPr>
          <p:cNvPr id="43" name="TextBox 24"/>
          <p:cNvSpPr txBox="1">
            <a:spLocks noChangeArrowheads="1"/>
          </p:cNvSpPr>
          <p:nvPr/>
        </p:nvSpPr>
        <p:spPr bwMode="auto">
          <a:xfrm rot="19486504">
            <a:off x="6700838" y="5148263"/>
            <a:ext cx="1993900" cy="708025"/>
          </a:xfrm>
          <a:prstGeom prst="rect">
            <a:avLst/>
          </a:prstGeom>
          <a:solidFill>
            <a:srgbClr val="F8188D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решен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блем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672967" y="208053"/>
            <a:ext cx="65860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200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оставляющие исследования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ISA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82175" y="3698223"/>
            <a:ext cx="1061614" cy="106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286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882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Тема урока: «Диффузия. Броуновское движение»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69945" y="474889"/>
            <a:ext cx="38228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Закрепление изученного материал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04799" y="887440"/>
            <a:ext cx="81059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Материал учебника с. 26 рубрики «Вопросы» и «Обсудить в классе»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799" y="1346158"/>
            <a:ext cx="4772025" cy="140017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799" y="2854957"/>
            <a:ext cx="4772024" cy="86677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5184829" y="1346158"/>
            <a:ext cx="66480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1) На каком явлении основана засолка овощей? </a:t>
            </a:r>
          </a:p>
          <a:p>
            <a:r>
              <a:rPr lang="ru-RU" dirty="0">
                <a:solidFill>
                  <a:srgbClr val="002060"/>
                </a:solidFill>
              </a:rPr>
              <a:t>2) Можно ли наблюдать броуновское движение чаинок в стакане горячего чая?</a:t>
            </a:r>
          </a:p>
        </p:txBody>
      </p:sp>
      <p:sp>
        <p:nvSpPr>
          <p:cNvPr id="14" name="Скругленный прямоугольник 13">
            <a:hlinkClick r:id="rId6" action="ppaction://hlinksldjump"/>
          </p:cNvPr>
          <p:cNvSpPr/>
          <p:nvPr/>
        </p:nvSpPr>
        <p:spPr>
          <a:xfrm>
            <a:off x="6381702" y="2268564"/>
            <a:ext cx="4220162" cy="621102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Применить соответствующие естественнонаучные знания для объяснения явле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184829" y="2940394"/>
            <a:ext cx="63918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3) Объясните</a:t>
            </a:r>
            <a:r>
              <a:rPr lang="ru-RU" dirty="0">
                <a:solidFill>
                  <a:srgbClr val="002060"/>
                </a:solidFill>
              </a:rPr>
              <a:t>, каким образом молекулы кислорода из воздуха попадают в воду рек, озёр и других водоёмов</a:t>
            </a:r>
          </a:p>
        </p:txBody>
      </p:sp>
      <p:sp>
        <p:nvSpPr>
          <p:cNvPr id="20" name="Скругленный прямоугольник 19">
            <a:hlinkClick r:id="rId7" action="ppaction://hlinksldjump"/>
          </p:cNvPr>
          <p:cNvSpPr/>
          <p:nvPr/>
        </p:nvSpPr>
        <p:spPr>
          <a:xfrm>
            <a:off x="6381702" y="3676111"/>
            <a:ext cx="4220162" cy="621102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Распознавать, использовать и создавать объяснительные модели и представления</a:t>
            </a:r>
          </a:p>
        </p:txBody>
      </p:sp>
    </p:spTree>
    <p:extLst>
      <p:ext uri="{BB962C8B-B14F-4D97-AF65-F5344CB8AC3E}">
        <p14:creationId xmlns:p14="http://schemas.microsoft.com/office/powerpoint/2010/main" val="2086967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14" grpId="0" animBg="1"/>
      <p:bldP spid="9" grpId="0"/>
      <p:bldP spid="2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882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Тема урока: «Диффузия. Броуновское движение»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68164" y="517667"/>
            <a:ext cx="38228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Закрепление изученного материал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42222" y="886999"/>
            <a:ext cx="11274724" cy="36728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b="1" i="1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читайте </a:t>
            </a:r>
            <a:r>
              <a:rPr lang="ru-RU" b="1" i="1" dirty="0" smtClean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екст.</a:t>
            </a:r>
          </a:p>
          <a:p>
            <a:pPr>
              <a:spcAft>
                <a:spcPts val="1000"/>
              </a:spcAft>
            </a:pPr>
            <a:r>
              <a:rPr lang="ru-RU" dirty="0" smtClean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злив </a:t>
            </a:r>
            <a:r>
              <a:rPr lang="ru-RU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ефтяной смеси произошел при ликвидации аварии на ТЭЦ в </a:t>
            </a:r>
            <a:r>
              <a:rPr lang="ru-RU" dirty="0" smtClean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орильске в 2020 году. </a:t>
            </a:r>
            <a:r>
              <a:rPr lang="ru-RU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 информации Росприроднадзора, не более 250 литров водно-топливной смеси попало в реку Амбарная в результате «порыва и сброса через рукав», по которому ее качали по временным трубопроводам в место временного хранения. Это привело к уменьшению поступления света и кислорода в водоем. Агентство США по Охране окружающей среды (US Environmental Protection Agency) следующим образом описывает эффект разлива нефти. Через 10 минут после того, как в воде оказалась одна тонна нефти, образуется нефтяное пятно, толщина которого составляет 10 мм. С течением времени толщина пленки уменьшается (до менее 1 миллиметра), в то время, как пятно расширяется. Одна тонна нефти способна покрыть площадь до 12 квадратных километров. </a:t>
            </a:r>
            <a:endParaRPr lang="ru-RU" sz="1600" dirty="0">
              <a:solidFill>
                <a:srgbClr val="00206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dirty="0">
                <a:solidFill>
                  <a:srgbClr val="002060"/>
                </a:solidFill>
                <a:ea typeface="Calibri" panose="020F0502020204030204" pitchFamily="34" charset="0"/>
              </a:rPr>
              <a:t>Для жизнедеятельности рыб, растений и других обитателей водоемов кроме света необходим еще и кислород. Кислород способствует самоочищению воды, и поэтому его недостаток приводит к росту сине-зеленых водорослей и гибели многих обитателей </a:t>
            </a:r>
            <a:r>
              <a:rPr lang="ru-RU" dirty="0" smtClean="0">
                <a:solidFill>
                  <a:srgbClr val="002060"/>
                </a:solidFill>
                <a:ea typeface="Calibri" panose="020F0502020204030204" pitchFamily="34" charset="0"/>
              </a:rPr>
              <a:t>водоемов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42222" y="4504351"/>
            <a:ext cx="1058744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ыполните задание. </a:t>
            </a:r>
          </a:p>
          <a:p>
            <a:r>
              <a:rPr lang="ru-RU" dirty="0">
                <a:solidFill>
                  <a:srgbClr val="002060"/>
                </a:solidFill>
              </a:rPr>
              <a:t>Почему важно, чтобы поверхность водоема не была покрыта тиной, листьями, мусором или нефтяной пленкой? Какое явление затрудняет поступление кислорода в реку?</a:t>
            </a:r>
          </a:p>
        </p:txBody>
      </p:sp>
      <p:sp>
        <p:nvSpPr>
          <p:cNvPr id="12" name="Скругленный прямоугольник 11">
            <a:hlinkClick r:id="rId4" action="ppaction://hlinksldjump"/>
          </p:cNvPr>
          <p:cNvSpPr/>
          <p:nvPr/>
        </p:nvSpPr>
        <p:spPr>
          <a:xfrm>
            <a:off x="7891005" y="5403468"/>
            <a:ext cx="3584976" cy="71780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Оценивать c научной точки зрения аргументы и доказательства из различных источников</a:t>
            </a:r>
          </a:p>
        </p:txBody>
      </p:sp>
    </p:spTree>
    <p:extLst>
      <p:ext uri="{BB962C8B-B14F-4D97-AF65-F5344CB8AC3E}">
        <p14:creationId xmlns:p14="http://schemas.microsoft.com/office/powerpoint/2010/main" val="1969453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882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Тема урока: «Диффузия. Броуновское движение»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11026" y="517667"/>
            <a:ext cx="21582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Домашнее задание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3300" y="818826"/>
            <a:ext cx="650431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1. Материал </a:t>
            </a:r>
            <a:r>
              <a:rPr lang="ru-RU" b="1" dirty="0">
                <a:solidFill>
                  <a:srgbClr val="002060"/>
                </a:solidFill>
              </a:rPr>
              <a:t>учебника с. 26 рубрики «Теория и практика»</a:t>
            </a:r>
          </a:p>
          <a:p>
            <a:r>
              <a:rPr lang="ru-RU" i="1" dirty="0" smtClean="0">
                <a:solidFill>
                  <a:srgbClr val="002060"/>
                </a:solidFill>
              </a:rPr>
              <a:t>Сформулируйте </a:t>
            </a:r>
            <a:r>
              <a:rPr lang="ru-RU" i="1" dirty="0">
                <a:solidFill>
                  <a:srgbClr val="002060"/>
                </a:solidFill>
              </a:rPr>
              <a:t>вывод о необходимости физического явления «диффузия» в жизни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3545" y="818826"/>
            <a:ext cx="4714875" cy="195262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Скругленный прямоугольник 11">
            <a:hlinkClick r:id="rId5" action="ppaction://hlinksldjump"/>
          </p:cNvPr>
          <p:cNvSpPr/>
          <p:nvPr/>
        </p:nvSpPr>
        <p:spPr>
          <a:xfrm>
            <a:off x="1428983" y="1742156"/>
            <a:ext cx="4074670" cy="621102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Делать и научно обосновывать прогнозы о протекании процесса или явлени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93300" y="2824923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2. Материал </a:t>
            </a:r>
            <a:r>
              <a:rPr lang="ru-RU" b="1" dirty="0">
                <a:solidFill>
                  <a:srgbClr val="002060"/>
                </a:solidFill>
              </a:rPr>
              <a:t>учебника с. 26 рубрики «Вопросы» </a:t>
            </a:r>
          </a:p>
          <a:p>
            <a:r>
              <a:rPr lang="ru-RU" i="1" dirty="0">
                <a:solidFill>
                  <a:srgbClr val="002060"/>
                </a:solidFill>
              </a:rPr>
              <a:t>Технология засолки овощей</a:t>
            </a:r>
            <a:r>
              <a:rPr lang="ru-RU" dirty="0">
                <a:solidFill>
                  <a:srgbClr val="002060"/>
                </a:solidFill>
              </a:rPr>
              <a:t>. В какой воде — горячей или холодной — быстрее засолятся овощи?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3545" y="2955816"/>
            <a:ext cx="4772025" cy="140017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Скругленный прямоугольник 14">
            <a:hlinkClick r:id="rId7" action="ppaction://hlinksldjump"/>
          </p:cNvPr>
          <p:cNvSpPr/>
          <p:nvPr/>
        </p:nvSpPr>
        <p:spPr>
          <a:xfrm>
            <a:off x="1428983" y="3837639"/>
            <a:ext cx="4074670" cy="621102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Объяснять принцип действия технического устройства или технологи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93300" y="4646354"/>
            <a:ext cx="5886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3. Материал </a:t>
            </a:r>
            <a:r>
              <a:rPr lang="ru-RU" b="1" dirty="0">
                <a:solidFill>
                  <a:srgbClr val="002060"/>
                </a:solidFill>
              </a:rPr>
              <a:t>учебника с. 26 рубрики «Проводим опыты»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43544" y="4727749"/>
            <a:ext cx="4772025" cy="81778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Скругленный прямоугольник 17">
            <a:hlinkClick r:id="rId9" action="ppaction://hlinksldjump"/>
          </p:cNvPr>
          <p:cNvSpPr/>
          <p:nvPr/>
        </p:nvSpPr>
        <p:spPr>
          <a:xfrm>
            <a:off x="1428983" y="5177023"/>
            <a:ext cx="4074669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Распознавать допущения, доказательства и рассуждения в научных текстах</a:t>
            </a:r>
          </a:p>
        </p:txBody>
      </p:sp>
    </p:spTree>
    <p:extLst>
      <p:ext uri="{BB962C8B-B14F-4D97-AF65-F5344CB8AC3E}">
        <p14:creationId xmlns:p14="http://schemas.microsoft.com/office/powerpoint/2010/main" val="937447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2" grpId="0" animBg="1"/>
      <p:bldP spid="7" grpId="0"/>
      <p:bldP spid="15" grpId="0" animBg="1"/>
      <p:bldP spid="8" grpId="0"/>
      <p:bldP spid="18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74800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908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ДВЕДЁМ ИТОГ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21229" y="610795"/>
            <a:ext cx="6116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С какими компетенциями и умениями работали на уроке?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651501" y="1044413"/>
            <a:ext cx="2424023" cy="405442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ОМПЕТЕНЦИЯ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079215" y="1783409"/>
            <a:ext cx="2424023" cy="405442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</a:rPr>
              <a:t>научное объяснение явлений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653638" y="1783409"/>
            <a:ext cx="2424023" cy="405442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</a:rPr>
              <a:t>понимание особенностей </a:t>
            </a:r>
            <a:r>
              <a:rPr lang="ru-RU" sz="1400" b="1" dirty="0" err="1" smtClean="0">
                <a:solidFill>
                  <a:srgbClr val="002060"/>
                </a:solidFill>
              </a:rPr>
              <a:t>ест.науч</a:t>
            </a:r>
            <a:r>
              <a:rPr lang="ru-RU" sz="1400" b="1" dirty="0" smtClean="0">
                <a:solidFill>
                  <a:srgbClr val="002060"/>
                </a:solidFill>
              </a:rPr>
              <a:t>. </a:t>
            </a:r>
            <a:r>
              <a:rPr lang="ru-RU" sz="1400" b="1" dirty="0">
                <a:solidFill>
                  <a:srgbClr val="002060"/>
                </a:solidFill>
              </a:rPr>
              <a:t>исследования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218647" y="1783409"/>
            <a:ext cx="2424023" cy="405442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</a:rPr>
              <a:t>интерпретация данных </a:t>
            </a:r>
          </a:p>
        </p:txBody>
      </p:sp>
      <p:sp>
        <p:nvSpPr>
          <p:cNvPr id="19" name="Стрелка вниз 18"/>
          <p:cNvSpPr/>
          <p:nvPr/>
        </p:nvSpPr>
        <p:spPr>
          <a:xfrm>
            <a:off x="3036747" y="2188851"/>
            <a:ext cx="508958" cy="292066"/>
          </a:xfrm>
          <a:prstGeom prst="downArrow">
            <a:avLst>
              <a:gd name="adj1" fmla="val 29661"/>
              <a:gd name="adj2" fmla="val 5886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низ 19"/>
          <p:cNvSpPr/>
          <p:nvPr/>
        </p:nvSpPr>
        <p:spPr>
          <a:xfrm>
            <a:off x="5576911" y="2184579"/>
            <a:ext cx="508958" cy="292066"/>
          </a:xfrm>
          <a:prstGeom prst="downArrow">
            <a:avLst>
              <a:gd name="adj1" fmla="val 29661"/>
              <a:gd name="adj2" fmla="val 5886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низ 20"/>
          <p:cNvSpPr/>
          <p:nvPr/>
        </p:nvSpPr>
        <p:spPr>
          <a:xfrm>
            <a:off x="8176179" y="2184579"/>
            <a:ext cx="508958" cy="292066"/>
          </a:xfrm>
          <a:prstGeom prst="downArrow">
            <a:avLst>
              <a:gd name="adj1" fmla="val 29661"/>
              <a:gd name="adj2" fmla="val 5886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кругленный прямоугольник 21">
            <a:hlinkClick r:id="rId4" action="ppaction://hlinksldjump"/>
          </p:cNvPr>
          <p:cNvSpPr/>
          <p:nvPr/>
        </p:nvSpPr>
        <p:spPr>
          <a:xfrm>
            <a:off x="2075964" y="2514873"/>
            <a:ext cx="2430526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Применить соответствующие естественнонаучные знания для объяснения явления</a:t>
            </a:r>
          </a:p>
        </p:txBody>
      </p:sp>
      <p:sp>
        <p:nvSpPr>
          <p:cNvPr id="23" name="Скругленный прямоугольник 22">
            <a:hlinkClick r:id="rId5" action="ppaction://hlinksldjump"/>
          </p:cNvPr>
          <p:cNvSpPr/>
          <p:nvPr/>
        </p:nvSpPr>
        <p:spPr>
          <a:xfrm>
            <a:off x="2075964" y="3259532"/>
            <a:ext cx="2427274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Распознавать, использовать и создавать объяснительные модели и представления</a:t>
            </a:r>
          </a:p>
        </p:txBody>
      </p:sp>
      <p:sp>
        <p:nvSpPr>
          <p:cNvPr id="25" name="Скругленный прямоугольник 24">
            <a:hlinkClick r:id="rId6" action="ppaction://hlinksldjump"/>
          </p:cNvPr>
          <p:cNvSpPr/>
          <p:nvPr/>
        </p:nvSpPr>
        <p:spPr>
          <a:xfrm>
            <a:off x="2075964" y="4010821"/>
            <a:ext cx="2427274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Делать и научно обосновывать прогнозы о протекании процесса или явления</a:t>
            </a:r>
          </a:p>
        </p:txBody>
      </p:sp>
      <p:sp>
        <p:nvSpPr>
          <p:cNvPr id="26" name="Скругленный прямоугольник 25">
            <a:hlinkClick r:id="rId7" action="ppaction://hlinksldjump"/>
          </p:cNvPr>
          <p:cNvSpPr/>
          <p:nvPr/>
        </p:nvSpPr>
        <p:spPr>
          <a:xfrm>
            <a:off x="2075964" y="4767474"/>
            <a:ext cx="2427274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Объяснять принцип действия технического устройства или технологии</a:t>
            </a:r>
          </a:p>
        </p:txBody>
      </p:sp>
      <p:sp>
        <p:nvSpPr>
          <p:cNvPr id="27" name="Скругленный прямоугольник 26">
            <a:hlinkClick r:id="rId8" action="ppaction://hlinksldjump"/>
          </p:cNvPr>
          <p:cNvSpPr/>
          <p:nvPr/>
        </p:nvSpPr>
        <p:spPr>
          <a:xfrm>
            <a:off x="4653638" y="2511833"/>
            <a:ext cx="2424023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Распознавать и формулировать цель данного исследования</a:t>
            </a:r>
          </a:p>
        </p:txBody>
      </p:sp>
      <p:sp>
        <p:nvSpPr>
          <p:cNvPr id="28" name="Скругленный прямоугольник 27">
            <a:hlinkClick r:id="rId9" action="ppaction://hlinksldjump"/>
          </p:cNvPr>
          <p:cNvSpPr/>
          <p:nvPr/>
        </p:nvSpPr>
        <p:spPr>
          <a:xfrm>
            <a:off x="4650386" y="3255519"/>
            <a:ext cx="2427275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Предлагать или оценивать способ научного исследования данного вопроса</a:t>
            </a:r>
          </a:p>
        </p:txBody>
      </p:sp>
      <p:sp>
        <p:nvSpPr>
          <p:cNvPr id="29" name="Скругленный прямоугольник 28">
            <a:hlinkClick r:id="rId10" action="ppaction://hlinksldjump"/>
          </p:cNvPr>
          <p:cNvSpPr/>
          <p:nvPr/>
        </p:nvSpPr>
        <p:spPr>
          <a:xfrm>
            <a:off x="4650386" y="4010821"/>
            <a:ext cx="2427275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Выдвигать объяснительные гипотезы и предлагать способы их проверки</a:t>
            </a:r>
          </a:p>
        </p:txBody>
      </p:sp>
      <p:sp>
        <p:nvSpPr>
          <p:cNvPr id="30" name="Скругленный прямоугольник 29">
            <a:hlinkClick r:id="rId11" action="ppaction://hlinksldjump"/>
          </p:cNvPr>
          <p:cNvSpPr/>
          <p:nvPr/>
        </p:nvSpPr>
        <p:spPr>
          <a:xfrm>
            <a:off x="4650386" y="4766123"/>
            <a:ext cx="2427275" cy="93786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Описывать и оценивать способы, которые используют учёные, чтобы обеспечить надёжность данных и достоверность объяснений</a:t>
            </a:r>
          </a:p>
        </p:txBody>
      </p:sp>
      <p:sp>
        <p:nvSpPr>
          <p:cNvPr id="31" name="Скругленный прямоугольник 30">
            <a:hlinkClick r:id="rId12" action="ppaction://hlinksldjump"/>
          </p:cNvPr>
          <p:cNvSpPr/>
          <p:nvPr/>
        </p:nvSpPr>
        <p:spPr>
          <a:xfrm>
            <a:off x="7218646" y="2511833"/>
            <a:ext cx="2424023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Анализировать, интерпретировать данные и делать соответствующие выводы</a:t>
            </a:r>
          </a:p>
        </p:txBody>
      </p:sp>
      <p:sp>
        <p:nvSpPr>
          <p:cNvPr id="32" name="Скругленный прямоугольник 31">
            <a:hlinkClick r:id="rId13" action="ppaction://hlinksldjump"/>
          </p:cNvPr>
          <p:cNvSpPr/>
          <p:nvPr/>
        </p:nvSpPr>
        <p:spPr>
          <a:xfrm>
            <a:off x="7218645" y="3260087"/>
            <a:ext cx="2424023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Преобразовывать одну форму представления данных в другую</a:t>
            </a:r>
          </a:p>
        </p:txBody>
      </p:sp>
      <p:sp>
        <p:nvSpPr>
          <p:cNvPr id="33" name="Скругленный прямоугольник 32">
            <a:hlinkClick r:id="rId14" action="ppaction://hlinksldjump"/>
          </p:cNvPr>
          <p:cNvSpPr/>
          <p:nvPr/>
        </p:nvSpPr>
        <p:spPr>
          <a:xfrm>
            <a:off x="7218644" y="4004854"/>
            <a:ext cx="2424023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Распознавать допущения, доказательства и рассуждения в научных текстах</a:t>
            </a:r>
          </a:p>
        </p:txBody>
      </p:sp>
      <p:sp>
        <p:nvSpPr>
          <p:cNvPr id="34" name="Скругленный прямоугольник 33">
            <a:hlinkClick r:id="rId15" action="ppaction://hlinksldjump"/>
          </p:cNvPr>
          <p:cNvSpPr/>
          <p:nvPr/>
        </p:nvSpPr>
        <p:spPr>
          <a:xfrm>
            <a:off x="7218643" y="4760673"/>
            <a:ext cx="2424023" cy="71780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Оценивать c научной точки зрения аргументы и доказательства из различных источников</a:t>
            </a:r>
          </a:p>
        </p:txBody>
      </p:sp>
      <p:cxnSp>
        <p:nvCxnSpPr>
          <p:cNvPr id="36" name="Прямая со стрелкой 35"/>
          <p:cNvCxnSpPr>
            <a:stCxn id="15" idx="2"/>
            <a:endCxn id="16" idx="0"/>
          </p:cNvCxnSpPr>
          <p:nvPr/>
        </p:nvCxnSpPr>
        <p:spPr>
          <a:xfrm flipH="1">
            <a:off x="3291227" y="1449855"/>
            <a:ext cx="2572286" cy="3335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>
            <a:stCxn id="15" idx="2"/>
            <a:endCxn id="17" idx="0"/>
          </p:cNvCxnSpPr>
          <p:nvPr/>
        </p:nvCxnSpPr>
        <p:spPr>
          <a:xfrm>
            <a:off x="5863513" y="1449855"/>
            <a:ext cx="2137" cy="3335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>
            <a:stCxn id="15" idx="2"/>
            <a:endCxn id="18" idx="0"/>
          </p:cNvCxnSpPr>
          <p:nvPr/>
        </p:nvCxnSpPr>
        <p:spPr>
          <a:xfrm>
            <a:off x="5863513" y="1449855"/>
            <a:ext cx="2567146" cy="3335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>
            <a:hlinkClick r:id="rId4" action="ppaction://hlinksldjump"/>
          </p:cNvPr>
          <p:cNvSpPr/>
          <p:nvPr/>
        </p:nvSpPr>
        <p:spPr>
          <a:xfrm>
            <a:off x="2075961" y="2510829"/>
            <a:ext cx="2430526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Применить соответствующие естественнонаучные знания для объяснения явления</a:t>
            </a:r>
          </a:p>
        </p:txBody>
      </p:sp>
      <p:sp>
        <p:nvSpPr>
          <p:cNvPr id="41" name="Скругленный прямоугольник 40">
            <a:hlinkClick r:id="rId5" action="ppaction://hlinksldjump"/>
          </p:cNvPr>
          <p:cNvSpPr/>
          <p:nvPr/>
        </p:nvSpPr>
        <p:spPr>
          <a:xfrm>
            <a:off x="2075961" y="3255488"/>
            <a:ext cx="2427274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Распознавать, использовать и создавать объяснительные модели и представления</a:t>
            </a:r>
          </a:p>
        </p:txBody>
      </p:sp>
      <p:sp>
        <p:nvSpPr>
          <p:cNvPr id="42" name="Скругленный прямоугольник 41">
            <a:hlinkClick r:id="rId6" action="ppaction://hlinksldjump"/>
          </p:cNvPr>
          <p:cNvSpPr/>
          <p:nvPr/>
        </p:nvSpPr>
        <p:spPr>
          <a:xfrm>
            <a:off x="2075961" y="4006777"/>
            <a:ext cx="2427274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Делать и научно обосновывать прогнозы о протекании процесса или явления</a:t>
            </a:r>
          </a:p>
        </p:txBody>
      </p:sp>
      <p:sp>
        <p:nvSpPr>
          <p:cNvPr id="43" name="Скругленный прямоугольник 42">
            <a:hlinkClick r:id="rId7" action="ppaction://hlinksldjump"/>
          </p:cNvPr>
          <p:cNvSpPr/>
          <p:nvPr/>
        </p:nvSpPr>
        <p:spPr>
          <a:xfrm>
            <a:off x="2075961" y="4763430"/>
            <a:ext cx="2427274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Объяснять принцип действия технического устройства или технологии</a:t>
            </a:r>
          </a:p>
        </p:txBody>
      </p:sp>
      <p:sp>
        <p:nvSpPr>
          <p:cNvPr id="44" name="Скругленный прямоугольник 43">
            <a:hlinkClick r:id="rId8" action="ppaction://hlinksldjump"/>
          </p:cNvPr>
          <p:cNvSpPr/>
          <p:nvPr/>
        </p:nvSpPr>
        <p:spPr>
          <a:xfrm>
            <a:off x="4653635" y="2507789"/>
            <a:ext cx="2424023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Распознавать и формулировать цель данного исследования</a:t>
            </a:r>
          </a:p>
        </p:txBody>
      </p:sp>
      <p:sp>
        <p:nvSpPr>
          <p:cNvPr id="45" name="Скругленный прямоугольник 44">
            <a:hlinkClick r:id="rId9" action="ppaction://hlinksldjump"/>
          </p:cNvPr>
          <p:cNvSpPr/>
          <p:nvPr/>
        </p:nvSpPr>
        <p:spPr>
          <a:xfrm>
            <a:off x="4650383" y="3251475"/>
            <a:ext cx="2427275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Предлагать или оценивать способ научного исследования данного вопроса</a:t>
            </a:r>
          </a:p>
        </p:txBody>
      </p:sp>
      <p:sp>
        <p:nvSpPr>
          <p:cNvPr id="46" name="Скругленный прямоугольник 45">
            <a:hlinkClick r:id="rId10" action="ppaction://hlinksldjump"/>
          </p:cNvPr>
          <p:cNvSpPr/>
          <p:nvPr/>
        </p:nvSpPr>
        <p:spPr>
          <a:xfrm>
            <a:off x="4650383" y="4006777"/>
            <a:ext cx="2427275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Выдвигать объяснительные гипотезы и предлагать способы их проверки</a:t>
            </a:r>
          </a:p>
        </p:txBody>
      </p:sp>
      <p:sp>
        <p:nvSpPr>
          <p:cNvPr id="47" name="Скругленный прямоугольник 46">
            <a:hlinkClick r:id="rId12" action="ppaction://hlinksldjump"/>
          </p:cNvPr>
          <p:cNvSpPr/>
          <p:nvPr/>
        </p:nvSpPr>
        <p:spPr>
          <a:xfrm>
            <a:off x="7218643" y="2507789"/>
            <a:ext cx="2424023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Анализировать, интерпретировать данные и делать соответствующие выводы</a:t>
            </a:r>
          </a:p>
        </p:txBody>
      </p:sp>
      <p:sp>
        <p:nvSpPr>
          <p:cNvPr id="49" name="Скругленный прямоугольник 48">
            <a:hlinkClick r:id="rId13" action="ppaction://hlinksldjump"/>
          </p:cNvPr>
          <p:cNvSpPr/>
          <p:nvPr/>
        </p:nvSpPr>
        <p:spPr>
          <a:xfrm>
            <a:off x="7218642" y="3256043"/>
            <a:ext cx="2424023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Преобразовывать одну форму представления данных в другую</a:t>
            </a:r>
          </a:p>
        </p:txBody>
      </p:sp>
      <p:sp>
        <p:nvSpPr>
          <p:cNvPr id="50" name="Скругленный прямоугольник 49">
            <a:hlinkClick r:id="rId14" action="ppaction://hlinksldjump"/>
          </p:cNvPr>
          <p:cNvSpPr/>
          <p:nvPr/>
        </p:nvSpPr>
        <p:spPr>
          <a:xfrm>
            <a:off x="7218641" y="4000810"/>
            <a:ext cx="2424023" cy="621102"/>
          </a:xfrm>
          <a:prstGeom prst="round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2060"/>
                </a:solidFill>
              </a:rPr>
              <a:t>Распознавать допущения, доказательства и рассуждения в научных текстах</a:t>
            </a:r>
          </a:p>
        </p:txBody>
      </p:sp>
    </p:spTree>
    <p:extLst>
      <p:ext uri="{BB962C8B-B14F-4D97-AF65-F5344CB8AC3E}">
        <p14:creationId xmlns:p14="http://schemas.microsoft.com/office/powerpoint/2010/main" val="3949780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7" grpId="0" animBg="1"/>
      <p:bldP spid="14" grpId="0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9" grpId="0" animBg="1"/>
      <p:bldP spid="5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74800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908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ДВЕДЁМ ИТОГ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64696" y="596402"/>
            <a:ext cx="70552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На каждом ли уроке мы можем формировать такой набор умений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72540" y="1315560"/>
            <a:ext cx="1059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очему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12176" y="1660164"/>
            <a:ext cx="111603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В основу работы на уроке ложится предметное содержание, поэтому основной упор делаем на предметный результат.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Каждый урок по физике обладает «своим» набор </a:t>
            </a:r>
            <a:r>
              <a:rPr lang="ru-RU" dirty="0" err="1" smtClean="0">
                <a:solidFill>
                  <a:srgbClr val="002060"/>
                </a:solidFill>
              </a:rPr>
              <a:t>компетентностных</a:t>
            </a:r>
            <a:r>
              <a:rPr lang="ru-RU" dirty="0" smtClean="0">
                <a:solidFill>
                  <a:srgbClr val="002060"/>
                </a:solidFill>
              </a:rPr>
              <a:t> умений из области естественно-научной грамотности.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На уроке можно формировать и отрабатывать в среднем от 3 до 5 </a:t>
            </a:r>
            <a:r>
              <a:rPr lang="ru-RU" dirty="0" err="1" smtClean="0">
                <a:solidFill>
                  <a:srgbClr val="002060"/>
                </a:solidFill>
              </a:rPr>
              <a:t>компетентностных</a:t>
            </a:r>
            <a:r>
              <a:rPr lang="ru-RU" dirty="0" smtClean="0">
                <a:solidFill>
                  <a:srgbClr val="002060"/>
                </a:solidFill>
              </a:rPr>
              <a:t> умений. Сформировать все невозможно (ограничение по времени)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В рамках урока невозможно рассмотреть задание уровня </a:t>
            </a:r>
            <a:r>
              <a:rPr lang="en-US" dirty="0" smtClean="0">
                <a:solidFill>
                  <a:srgbClr val="002060"/>
                </a:solidFill>
              </a:rPr>
              <a:t>PISA</a:t>
            </a:r>
            <a:r>
              <a:rPr lang="ru-RU" dirty="0" smtClean="0">
                <a:solidFill>
                  <a:srgbClr val="002060"/>
                </a:solidFill>
              </a:rPr>
              <a:t>, поскольку время урока ограничено.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В рамках урока можно брать задания «поэлементно» (к примеру 2 задания из 6, 1 из 5 и т.д.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3551" y="4078291"/>
            <a:ext cx="12010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Нужен набор методических инструментов, которые будут помогать учителю находить эти умения для каждого урока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 flipH="1">
            <a:off x="4808287" y="960060"/>
            <a:ext cx="2568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Нет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4070657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  <p:bldP spid="7" grpId="0"/>
      <p:bldP spid="8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9658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Где можно взять задания для формирования ЕНГ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1" name="Picture 4" descr="Физика. 7 класс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8522" y="817562"/>
            <a:ext cx="1390448" cy="1871624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TextBox 18"/>
          <p:cNvSpPr txBox="1"/>
          <p:nvPr/>
        </p:nvSpPr>
        <p:spPr>
          <a:xfrm>
            <a:off x="491196" y="2778572"/>
            <a:ext cx="15597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Громова С.В., Родиной Н.А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1196" y="3263260"/>
            <a:ext cx="1561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4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488968" y="933150"/>
            <a:ext cx="5207961" cy="1640447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Предметное содержание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Набор практико-ориентированных заданий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Методический аппарат для формирования читательской грамотности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Контекстные задачи на реальных примерах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3996" y="2488517"/>
            <a:ext cx="1348787" cy="187162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TextBox 27"/>
          <p:cNvSpPr txBox="1"/>
          <p:nvPr/>
        </p:nvSpPr>
        <p:spPr>
          <a:xfrm>
            <a:off x="9628575" y="4481027"/>
            <a:ext cx="2019627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од ред. С.В. </a:t>
            </a:r>
            <a:r>
              <a:rPr lang="ru-RU" sz="12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Лозовенко</a:t>
            </a:r>
            <a:endParaRPr lang="ru-RU" sz="1200" dirty="0" smtClean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3488968" y="2795635"/>
            <a:ext cx="5207961" cy="1274977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Контекстные задачи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Набор практико-ориентированных заданий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Задания на перевод информации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Качественные задачи</a:t>
            </a:r>
          </a:p>
        </p:txBody>
      </p:sp>
      <p:cxnSp>
        <p:nvCxnSpPr>
          <p:cNvPr id="7" name="Прямая со стрелкой 6"/>
          <p:cNvCxnSpPr>
            <a:stCxn id="11" idx="3"/>
            <a:endCxn id="5" idx="1"/>
          </p:cNvCxnSpPr>
          <p:nvPr/>
        </p:nvCxnSpPr>
        <p:spPr>
          <a:xfrm>
            <a:off x="1948970" y="1753374"/>
            <a:ext cx="1539998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stCxn id="27" idx="1"/>
            <a:endCxn id="29" idx="3"/>
          </p:cNvCxnSpPr>
          <p:nvPr/>
        </p:nvCxnSpPr>
        <p:spPr>
          <a:xfrm flipH="1">
            <a:off x="8696929" y="3424329"/>
            <a:ext cx="1267067" cy="87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522" y="4105604"/>
            <a:ext cx="1390448" cy="187162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TextBox 38"/>
          <p:cNvSpPr txBox="1"/>
          <p:nvPr/>
        </p:nvSpPr>
        <p:spPr>
          <a:xfrm>
            <a:off x="419095" y="6033273"/>
            <a:ext cx="1669301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С.В. </a:t>
            </a:r>
            <a:r>
              <a:rPr lang="ru-RU" sz="12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Иванеско</a:t>
            </a:r>
            <a:r>
              <a:rPr lang="ru-RU" sz="1200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и др.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3488967" y="4283856"/>
            <a:ext cx="5207961" cy="151512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Задачи, с использованием текстов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Несколько форм заданий на отработку умения интерпретировать данные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Решение качественных задач контекстного содержания</a:t>
            </a:r>
          </a:p>
        </p:txBody>
      </p:sp>
      <p:cxnSp>
        <p:nvCxnSpPr>
          <p:cNvPr id="34" name="Прямая со стрелкой 33"/>
          <p:cNvCxnSpPr>
            <a:stCxn id="38" idx="3"/>
            <a:endCxn id="40" idx="1"/>
          </p:cNvCxnSpPr>
          <p:nvPr/>
        </p:nvCxnSpPr>
        <p:spPr>
          <a:xfrm>
            <a:off x="1948970" y="5041416"/>
            <a:ext cx="1539997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5119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2" grpId="0"/>
      <p:bldP spid="5" grpId="0" animBg="1"/>
      <p:bldP spid="28" grpId="0"/>
      <p:bldP spid="29" grpId="0" animBg="1"/>
      <p:bldP spid="39" grpId="0"/>
      <p:bldP spid="40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9658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Где можно взять задания для формирования ЕНГ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44" name="Picture 9" descr="Изображение Проектная мастерская. 5-9 классы.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02" y="940641"/>
            <a:ext cx="1390448" cy="187162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Рисунок 46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1062" y="945455"/>
            <a:ext cx="1390448" cy="1866810"/>
          </a:xfrm>
          <a:prstGeom prst="rect">
            <a:avLst/>
          </a:prstGeom>
          <a:ln w="63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391902" y="2901651"/>
            <a:ext cx="3169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Проектно-исследовательская деятельность</a:t>
            </a:r>
            <a:endParaRPr lang="ru-RU" sz="1200" b="1" dirty="0">
              <a:solidFill>
                <a:srgbClr val="002060"/>
              </a:solidFill>
            </a:endParaRPr>
          </a:p>
        </p:txBody>
      </p:sp>
      <p:pic>
        <p:nvPicPr>
          <p:cNvPr id="35" name="Picture 4" descr="Физика. 7 класс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974900" y="2539253"/>
            <a:ext cx="1390448" cy="1871624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2" name="TextBox 51"/>
          <p:cNvSpPr txBox="1"/>
          <p:nvPr/>
        </p:nvSpPr>
        <p:spPr>
          <a:xfrm>
            <a:off x="9085320" y="4398445"/>
            <a:ext cx="31696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Технологические карты</a:t>
            </a:r>
          </a:p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Н.В. Сафронов</a:t>
            </a:r>
          </a:p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(Новинка май 2021)</a:t>
            </a:r>
          </a:p>
        </p:txBody>
      </p:sp>
      <p:pic>
        <p:nvPicPr>
          <p:cNvPr id="53" name="Picture 73" descr="Физика. 9 класс. В 3-х ч. Ч.3 (для слабовидящих обучающихся)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312" y="4095044"/>
            <a:ext cx="1277397" cy="1869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53"/>
          <p:cNvSpPr txBox="1"/>
          <p:nvPr/>
        </p:nvSpPr>
        <p:spPr>
          <a:xfrm>
            <a:off x="391902" y="5980821"/>
            <a:ext cx="31696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Самостоятельные и контрольные работы</a:t>
            </a:r>
          </a:p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Н.В. Сафронов</a:t>
            </a:r>
          </a:p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(Новинка сентябрь 2021)</a:t>
            </a: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4137942" y="1061535"/>
            <a:ext cx="5207961" cy="1640447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Задания на исследование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Представление данных в виде графиков, таблиц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Планирование и проведение эксперимента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Целеполагание и актуальность</a:t>
            </a:r>
          </a:p>
        </p:txBody>
      </p:sp>
      <p:cxnSp>
        <p:nvCxnSpPr>
          <p:cNvPr id="6" name="Прямая со стрелкой 5"/>
          <p:cNvCxnSpPr>
            <a:stCxn id="47" idx="3"/>
            <a:endCxn id="55" idx="1"/>
          </p:cNvCxnSpPr>
          <p:nvPr/>
        </p:nvCxnSpPr>
        <p:spPr>
          <a:xfrm>
            <a:off x="3561510" y="1878860"/>
            <a:ext cx="576432" cy="289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Скругленный прямоугольник 55"/>
          <p:cNvSpPr/>
          <p:nvPr/>
        </p:nvSpPr>
        <p:spPr>
          <a:xfrm>
            <a:off x="4137941" y="2812265"/>
            <a:ext cx="5207961" cy="13256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Интересные идеи для уроков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Полный доступ к контенту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Наличие контекстных задач и </a:t>
            </a:r>
            <a:r>
              <a:rPr lang="en-US" dirty="0" smtClean="0">
                <a:solidFill>
                  <a:srgbClr val="002060"/>
                </a:solidFill>
              </a:rPr>
              <a:t>“PISA”</a:t>
            </a:r>
            <a:r>
              <a:rPr lang="ru-RU" dirty="0" smtClean="0">
                <a:solidFill>
                  <a:srgbClr val="002060"/>
                </a:solidFill>
              </a:rPr>
              <a:t>-образных задач</a:t>
            </a:r>
          </a:p>
        </p:txBody>
      </p:sp>
      <p:cxnSp>
        <p:nvCxnSpPr>
          <p:cNvPr id="8" name="Прямая со стрелкой 7"/>
          <p:cNvCxnSpPr>
            <a:stCxn id="35" idx="1"/>
            <a:endCxn id="56" idx="3"/>
          </p:cNvCxnSpPr>
          <p:nvPr/>
        </p:nvCxnSpPr>
        <p:spPr>
          <a:xfrm flipH="1">
            <a:off x="9345902" y="3475065"/>
            <a:ext cx="628998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Скругленный прямоугольник 56"/>
          <p:cNvSpPr/>
          <p:nvPr/>
        </p:nvSpPr>
        <p:spPr>
          <a:xfrm>
            <a:off x="4137941" y="4373411"/>
            <a:ext cx="5207961" cy="13256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Оценка ЕНГ в рамках предмета «Физика»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Оценочные мероприятия разных форматов (в том числе и </a:t>
            </a:r>
            <a:r>
              <a:rPr lang="en-US" dirty="0" smtClean="0">
                <a:solidFill>
                  <a:srgbClr val="002060"/>
                </a:solidFill>
              </a:rPr>
              <a:t>PISA</a:t>
            </a:r>
            <a:r>
              <a:rPr lang="ru-RU" dirty="0" smtClean="0">
                <a:solidFill>
                  <a:srgbClr val="002060"/>
                </a:solidFill>
              </a:rPr>
              <a:t>)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«Пул» задач на развитие компетенций ЕНГ</a:t>
            </a:r>
          </a:p>
        </p:txBody>
      </p:sp>
      <p:cxnSp>
        <p:nvCxnSpPr>
          <p:cNvPr id="16" name="Прямая со стрелкой 15"/>
          <p:cNvCxnSpPr>
            <a:stCxn id="53" idx="3"/>
            <a:endCxn id="57" idx="1"/>
          </p:cNvCxnSpPr>
          <p:nvPr/>
        </p:nvCxnSpPr>
        <p:spPr>
          <a:xfrm>
            <a:off x="2599709" y="5029725"/>
            <a:ext cx="1538232" cy="64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408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2" grpId="0"/>
      <p:bldP spid="54" grpId="0"/>
      <p:bldP spid="55" grpId="0" animBg="1"/>
      <p:bldP spid="56" grpId="0" animBg="1"/>
      <p:bldP spid="57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37427" y="117557"/>
            <a:ext cx="44335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РАССМОТРИМ ЗАДАНИЕ ПО ЕНГ (</a:t>
            </a:r>
            <a:r>
              <a:rPr lang="en-US" sz="2000" b="1" dirty="0" smtClean="0">
                <a:solidFill>
                  <a:srgbClr val="002060"/>
                </a:solidFill>
              </a:rPr>
              <a:t>PISA</a:t>
            </a:r>
            <a:r>
              <a:rPr lang="ru-RU" sz="2000" b="1" dirty="0" smtClean="0">
                <a:solidFill>
                  <a:srgbClr val="002060"/>
                </a:solidFill>
              </a:rPr>
              <a:t>)</a:t>
            </a:r>
            <a:endParaRPr lang="ru-RU" sz="2000" b="1" dirty="0">
              <a:solidFill>
                <a:srgbClr val="00206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006" y="1276491"/>
            <a:ext cx="1501902" cy="204340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134" y="912412"/>
            <a:ext cx="1520293" cy="204340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325084" y="3489847"/>
            <a:ext cx="239649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Сборник эталонных заданий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</a:rPr>
              <a:t>Серия </a:t>
            </a:r>
            <a:r>
              <a:rPr lang="ru-RU" sz="1200" b="1" dirty="0" smtClean="0">
                <a:solidFill>
                  <a:srgbClr val="002060"/>
                </a:solidFill>
              </a:rPr>
              <a:t>«Учимся для жизни»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</a:rPr>
              <a:t>Естественно-научная грамотность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</a:rPr>
              <a:t>под. ред. Г.С. Ковалёвой</a:t>
            </a:r>
            <a:endParaRPr lang="ru-RU" sz="1200" dirty="0">
              <a:solidFill>
                <a:srgbClr val="00206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0783" y="752166"/>
            <a:ext cx="4473985" cy="381334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Прямоугольник 11"/>
          <p:cNvSpPr/>
          <p:nvPr/>
        </p:nvSpPr>
        <p:spPr>
          <a:xfrm>
            <a:off x="317134" y="1876333"/>
            <a:ext cx="92292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952643" y="757748"/>
            <a:ext cx="4079543" cy="204340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</a:rPr>
              <a:t>В рамках глобальной экологической ситуации предлагается комплексное задание, связанное с содержанием курсов </a:t>
            </a:r>
            <a:r>
              <a:rPr lang="ru-RU" b="1" dirty="0">
                <a:solidFill>
                  <a:srgbClr val="002060"/>
                </a:solidFill>
              </a:rPr>
              <a:t>физики, химии, физической географии</a:t>
            </a:r>
            <a:r>
              <a:rPr lang="ru-RU" dirty="0">
                <a:solidFill>
                  <a:srgbClr val="002060"/>
                </a:solidFill>
              </a:rPr>
              <a:t> на ступени основного общего образования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7952642" y="3002177"/>
            <a:ext cx="4079543" cy="141937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</a:rPr>
              <a:t>Задание может быть использовано при изучении тем: «Антарктида», «Плавание тел. Закон Архимеда», «Вода. Растворы».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65731" y="4815879"/>
            <a:ext cx="5905282" cy="1318053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2060"/>
                </a:solidFill>
              </a:rPr>
              <a:t>Умения, формируемые или проверяемые посредством задания, имеют </a:t>
            </a:r>
            <a:r>
              <a:rPr lang="ru-RU" b="1" dirty="0" smtClean="0">
                <a:solidFill>
                  <a:srgbClr val="002060"/>
                </a:solidFill>
              </a:rPr>
              <a:t>общеучебный </a:t>
            </a:r>
            <a:r>
              <a:rPr lang="ru-RU" b="1" dirty="0">
                <a:solidFill>
                  <a:srgbClr val="002060"/>
                </a:solidFill>
              </a:rPr>
              <a:t>межпредметный </a:t>
            </a:r>
            <a:r>
              <a:rPr lang="ru-RU" dirty="0">
                <a:solidFill>
                  <a:srgbClr val="002060"/>
                </a:solidFill>
              </a:rPr>
              <a:t>характер и могут также применяться для диагностики </a:t>
            </a:r>
            <a:r>
              <a:rPr lang="ru-RU" b="1" dirty="0">
                <a:solidFill>
                  <a:srgbClr val="002060"/>
                </a:solidFill>
              </a:rPr>
              <a:t>метапредметных</a:t>
            </a:r>
            <a:r>
              <a:rPr lang="ru-RU" dirty="0">
                <a:solidFill>
                  <a:srgbClr val="002060"/>
                </a:solidFill>
              </a:rPr>
              <a:t> результатов обучения.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826683" y="5088278"/>
            <a:ext cx="3637157" cy="773253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002060"/>
                </a:solidFill>
              </a:rPr>
              <a:t>Комплексное задание «Айсберг» включает 5 отдельных заданий.</a:t>
            </a:r>
          </a:p>
        </p:txBody>
      </p:sp>
    </p:spTree>
    <p:extLst>
      <p:ext uri="{BB962C8B-B14F-4D97-AF65-F5344CB8AC3E}">
        <p14:creationId xmlns:p14="http://schemas.microsoft.com/office/powerpoint/2010/main" val="1774025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4" grpId="0" animBg="1"/>
      <p:bldP spid="25" grpId="0" animBg="1"/>
      <p:bldP spid="26" grpId="0" animBg="1"/>
      <p:bldP spid="2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37427" y="117557"/>
            <a:ext cx="44335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РАССМОТРИМ ЗАДАНИЕ ПО ЕНГ (</a:t>
            </a:r>
            <a:r>
              <a:rPr lang="en-US" sz="2000" b="1" dirty="0" smtClean="0">
                <a:solidFill>
                  <a:srgbClr val="002060"/>
                </a:solidFill>
              </a:rPr>
              <a:t>PISA</a:t>
            </a:r>
            <a:r>
              <a:rPr lang="ru-RU" sz="2000" b="1" dirty="0" smtClean="0">
                <a:solidFill>
                  <a:srgbClr val="002060"/>
                </a:solidFill>
              </a:rPr>
              <a:t>)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4453" y="77637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Задание 1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74453" y="1145709"/>
            <a:ext cx="105759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Как изменится уровень Мирового океана после того, как </a:t>
            </a:r>
            <a:r>
              <a:rPr lang="ru-RU" b="1" dirty="0" smtClean="0">
                <a:solidFill>
                  <a:srgbClr val="002060"/>
                </a:solidFill>
              </a:rPr>
              <a:t>плавающий в </a:t>
            </a:r>
            <a:r>
              <a:rPr lang="ru-RU" b="1" dirty="0">
                <a:solidFill>
                  <a:srgbClr val="002060"/>
                </a:solidFill>
              </a:rPr>
              <a:t>нём айсберг полностью растает?</a:t>
            </a:r>
          </a:p>
          <a:p>
            <a:r>
              <a:rPr lang="ru-RU" i="1" dirty="0">
                <a:solidFill>
                  <a:srgbClr val="002060"/>
                </a:solidFill>
              </a:rPr>
              <a:t>Выберите один ответ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74452" y="1700612"/>
            <a:ext cx="1044310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A. Уровень Мирового океана повысится в соответствии с </a:t>
            </a:r>
            <a:r>
              <a:rPr lang="ru-RU" dirty="0" smtClean="0">
                <a:solidFill>
                  <a:srgbClr val="002060"/>
                </a:solidFill>
              </a:rPr>
              <a:t>объёмом айсберга</a:t>
            </a:r>
            <a:r>
              <a:rPr lang="ru-RU" dirty="0">
                <a:solidFill>
                  <a:srgbClr val="002060"/>
                </a:solidFill>
              </a:rPr>
              <a:t>.</a:t>
            </a:r>
          </a:p>
          <a:p>
            <a:r>
              <a:rPr lang="ru-RU" dirty="0">
                <a:solidFill>
                  <a:srgbClr val="002060"/>
                </a:solidFill>
              </a:rPr>
              <a:t>B. Уровень Мирового океана не изменится.</a:t>
            </a:r>
          </a:p>
          <a:p>
            <a:r>
              <a:rPr lang="ru-RU" dirty="0">
                <a:solidFill>
                  <a:srgbClr val="002060"/>
                </a:solidFill>
              </a:rPr>
              <a:t>C. Уровень Мирового океана повысится в соответствии с </a:t>
            </a:r>
            <a:r>
              <a:rPr lang="ru-RU" dirty="0" smtClean="0">
                <a:solidFill>
                  <a:srgbClr val="002060"/>
                </a:solidFill>
              </a:rPr>
              <a:t>объёмом надводной </a:t>
            </a:r>
            <a:r>
              <a:rPr lang="ru-RU" dirty="0">
                <a:solidFill>
                  <a:srgbClr val="002060"/>
                </a:solidFill>
              </a:rPr>
              <a:t>части айсберга.</a:t>
            </a:r>
          </a:p>
          <a:p>
            <a:r>
              <a:rPr lang="ru-RU" dirty="0">
                <a:solidFill>
                  <a:srgbClr val="002060"/>
                </a:solidFill>
              </a:rPr>
              <a:t>D. Уровень Мирового океана понизится.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139956"/>
              </p:ext>
            </p:extLst>
          </p:nvPr>
        </p:nvGraphicFramePr>
        <p:xfrm>
          <a:off x="1349095" y="2966708"/>
          <a:ext cx="8693816" cy="2519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888239">
                  <a:extLst>
                    <a:ext uri="{9D8B030D-6E8A-4147-A177-3AD203B41FA5}">
                      <a16:colId xmlns:a16="http://schemas.microsoft.com/office/drawing/2014/main" val="3145794182"/>
                    </a:ext>
                  </a:extLst>
                </a:gridCol>
                <a:gridCol w="5805577">
                  <a:extLst>
                    <a:ext uri="{9D8B030D-6E8A-4147-A177-3AD203B41FA5}">
                      <a16:colId xmlns:a16="http://schemas.microsoft.com/office/drawing/2014/main" val="32440024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Компетенц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научное объяснение явлений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910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Уме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применить соответствующие естественно-научные знания для объяснения явления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869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Сложность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средний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0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Предмет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физика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771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Элемент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 содержан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плавание тел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4467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Оценива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1 балл: </a:t>
                      </a:r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В. Уровень Мирового океана не изменится.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0 баллов</a:t>
                      </a:r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: Другие варианты ответа.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241310"/>
                  </a:ext>
                </a:extLst>
              </a:tr>
            </a:tbl>
          </a:graphicData>
        </a:graphic>
      </p:graphicFrame>
      <p:sp>
        <p:nvSpPr>
          <p:cNvPr id="14" name="Овал 13"/>
          <p:cNvSpPr/>
          <p:nvPr/>
        </p:nvSpPr>
        <p:spPr>
          <a:xfrm>
            <a:off x="474452" y="2018581"/>
            <a:ext cx="293299" cy="27604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4375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2" grpId="0"/>
      <p:bldP spid="14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37427" y="117557"/>
            <a:ext cx="44335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РАССМОТРИМ ЗАДАНИЕ ПО ЕНГ (</a:t>
            </a:r>
            <a:r>
              <a:rPr lang="en-US" sz="2000" b="1" dirty="0" smtClean="0">
                <a:solidFill>
                  <a:srgbClr val="002060"/>
                </a:solidFill>
              </a:rPr>
              <a:t>PISA</a:t>
            </a:r>
            <a:r>
              <a:rPr lang="ru-RU" sz="2000" b="1" dirty="0" smtClean="0">
                <a:solidFill>
                  <a:srgbClr val="002060"/>
                </a:solidFill>
              </a:rPr>
              <a:t>)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4453" y="77637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Задание 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2</a:t>
            </a:r>
            <a:endParaRPr lang="ru-RU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74453" y="1145709"/>
            <a:ext cx="113954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Как c помощью простого опыта доказать, что плотность воды </a:t>
            </a:r>
            <a:r>
              <a:rPr lang="ru-RU" b="1" dirty="0" smtClean="0">
                <a:solidFill>
                  <a:srgbClr val="002060"/>
                </a:solidFill>
              </a:rPr>
              <a:t>при 0 </a:t>
            </a:r>
            <a:r>
              <a:rPr lang="ru-RU" b="1" baseline="30000" dirty="0" smtClean="0">
                <a:solidFill>
                  <a:srgbClr val="002060"/>
                </a:solidFill>
              </a:rPr>
              <a:t>0</a:t>
            </a:r>
            <a:r>
              <a:rPr lang="ru-RU" b="1" dirty="0" smtClean="0">
                <a:solidFill>
                  <a:srgbClr val="002060"/>
                </a:solidFill>
              </a:rPr>
              <a:t>С </a:t>
            </a:r>
            <a:r>
              <a:rPr lang="ru-RU" b="1" dirty="0">
                <a:solidFill>
                  <a:srgbClr val="002060"/>
                </a:solidFill>
              </a:rPr>
              <a:t>больше плотности льда?</a:t>
            </a:r>
          </a:p>
          <a:p>
            <a:r>
              <a:rPr lang="ru-RU" i="1" dirty="0">
                <a:solidFill>
                  <a:srgbClr val="002060"/>
                </a:solidFill>
              </a:rPr>
              <a:t>Опишите доступный в домашних условиях опыт и объясните, </a:t>
            </a:r>
            <a:r>
              <a:rPr lang="ru-RU" i="1" dirty="0" smtClean="0">
                <a:solidFill>
                  <a:srgbClr val="002060"/>
                </a:solidFill>
              </a:rPr>
              <a:t>почему его </a:t>
            </a:r>
            <a:r>
              <a:rPr lang="ru-RU" i="1" dirty="0">
                <a:solidFill>
                  <a:srgbClr val="002060"/>
                </a:solidFill>
              </a:rPr>
              <a:t>можно считать доказательством.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230522"/>
              </p:ext>
            </p:extLst>
          </p:nvPr>
        </p:nvGraphicFramePr>
        <p:xfrm>
          <a:off x="1746041" y="3717789"/>
          <a:ext cx="8693816" cy="27990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888239">
                  <a:extLst>
                    <a:ext uri="{9D8B030D-6E8A-4147-A177-3AD203B41FA5}">
                      <a16:colId xmlns:a16="http://schemas.microsoft.com/office/drawing/2014/main" val="3145794182"/>
                    </a:ext>
                  </a:extLst>
                </a:gridCol>
                <a:gridCol w="5805577">
                  <a:extLst>
                    <a:ext uri="{9D8B030D-6E8A-4147-A177-3AD203B41FA5}">
                      <a16:colId xmlns:a16="http://schemas.microsoft.com/office/drawing/2014/main" val="32440024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Компетенц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применение естественно-научных методов исследования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910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Уме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планировать и проводить эксперимент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869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Сложность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средний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0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Предмет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физика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771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Элемент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 содержан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плавание тел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4467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Оценива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2 балла (ответ принят полностью): </a:t>
                      </a:r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Описан и объяснён опыт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1 балл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 (ответ принят частично): </a:t>
                      </a:r>
                      <a:r>
                        <a:rPr lang="ru-RU" sz="1400" b="0" baseline="0" dirty="0" smtClean="0">
                          <a:solidFill>
                            <a:srgbClr val="002060"/>
                          </a:solidFill>
                        </a:rPr>
                        <a:t>Дано только описание опыта без объяснения, почему этот опыт можно считать доказательством.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0 баллов: </a:t>
                      </a:r>
                      <a:r>
                        <a:rPr lang="ru-RU" sz="1400" b="0" baseline="0" dirty="0" smtClean="0">
                          <a:solidFill>
                            <a:srgbClr val="002060"/>
                          </a:solidFill>
                        </a:rPr>
                        <a:t>Другие ответы.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241310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74453" y="1778797"/>
            <a:ext cx="110504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1. </a:t>
            </a:r>
            <a:r>
              <a:rPr lang="ru-RU" b="1" dirty="0" smtClean="0">
                <a:solidFill>
                  <a:srgbClr val="002060"/>
                </a:solidFill>
              </a:rPr>
              <a:t>Гипотеза:</a:t>
            </a:r>
            <a:r>
              <a:rPr lang="ru-RU" dirty="0" smtClean="0">
                <a:solidFill>
                  <a:srgbClr val="002060"/>
                </a:solidFill>
              </a:rPr>
              <a:t> тело </a:t>
            </a:r>
            <a:r>
              <a:rPr lang="ru-RU" dirty="0">
                <a:solidFill>
                  <a:srgbClr val="002060"/>
                </a:solidFill>
              </a:rPr>
              <a:t>не тонет в жидкости, если его плотность меньше </a:t>
            </a:r>
            <a:r>
              <a:rPr lang="ru-RU" dirty="0" smtClean="0">
                <a:solidFill>
                  <a:srgbClr val="002060"/>
                </a:solidFill>
              </a:rPr>
              <a:t>плотности жидкости.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2. </a:t>
            </a:r>
            <a:r>
              <a:rPr lang="ru-RU" b="1" dirty="0" smtClean="0">
                <a:solidFill>
                  <a:srgbClr val="002060"/>
                </a:solidFill>
              </a:rPr>
              <a:t>Опыт: </a:t>
            </a:r>
            <a:r>
              <a:rPr lang="ru-RU" dirty="0" smtClean="0">
                <a:solidFill>
                  <a:srgbClr val="002060"/>
                </a:solidFill>
              </a:rPr>
              <a:t>Для опыта нам понадобятся кусочки льда, стакан воды температура которой 0 </a:t>
            </a:r>
            <a:r>
              <a:rPr lang="ru-RU" baseline="30000" dirty="0" smtClean="0">
                <a:solidFill>
                  <a:srgbClr val="002060"/>
                </a:solidFill>
              </a:rPr>
              <a:t>0</a:t>
            </a:r>
            <a:r>
              <a:rPr lang="ru-RU" dirty="0" smtClean="0">
                <a:solidFill>
                  <a:srgbClr val="002060"/>
                </a:solidFill>
              </a:rPr>
              <a:t>С, термометр.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Кусочки льда вынимаем из холодильника </a:t>
            </a:r>
            <a:r>
              <a:rPr lang="ru-RU" dirty="0">
                <a:solidFill>
                  <a:srgbClr val="002060"/>
                </a:solidFill>
              </a:rPr>
              <a:t>и опускаем в воду. </a:t>
            </a:r>
            <a:endParaRPr lang="ru-RU" dirty="0" smtClean="0">
              <a:solidFill>
                <a:srgbClr val="002060"/>
              </a:solidFill>
            </a:endParaRPr>
          </a:p>
          <a:p>
            <a:r>
              <a:rPr lang="ru-RU" dirty="0" smtClean="0">
                <a:solidFill>
                  <a:srgbClr val="002060"/>
                </a:solidFill>
              </a:rPr>
              <a:t>3. </a:t>
            </a:r>
            <a:r>
              <a:rPr lang="ru-RU" b="1" dirty="0" smtClean="0">
                <a:solidFill>
                  <a:srgbClr val="002060"/>
                </a:solidFill>
              </a:rPr>
              <a:t>Итог опыта: </a:t>
            </a:r>
            <a:r>
              <a:rPr lang="ru-RU" dirty="0" smtClean="0">
                <a:solidFill>
                  <a:srgbClr val="002060"/>
                </a:solidFill>
              </a:rPr>
              <a:t>Кусочки </a:t>
            </a:r>
            <a:r>
              <a:rPr lang="ru-RU" dirty="0">
                <a:solidFill>
                  <a:srgbClr val="002060"/>
                </a:solidFill>
              </a:rPr>
              <a:t>льда, вынутые из холодильника, плавают на </a:t>
            </a:r>
            <a:r>
              <a:rPr lang="ru-RU" dirty="0" smtClean="0">
                <a:solidFill>
                  <a:srgbClr val="002060"/>
                </a:solidFill>
              </a:rPr>
              <a:t>поверхности воды </a:t>
            </a:r>
            <a:r>
              <a:rPr lang="ru-RU" dirty="0">
                <a:solidFill>
                  <a:srgbClr val="002060"/>
                </a:solidFill>
              </a:rPr>
              <a:t>и не </a:t>
            </a:r>
            <a:r>
              <a:rPr lang="ru-RU" dirty="0" smtClean="0">
                <a:solidFill>
                  <a:srgbClr val="002060"/>
                </a:solidFill>
              </a:rPr>
              <a:t>тонут.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4. </a:t>
            </a:r>
            <a:r>
              <a:rPr lang="ru-RU" b="1" dirty="0">
                <a:solidFill>
                  <a:srgbClr val="002060"/>
                </a:solidFill>
              </a:rPr>
              <a:t>Доказательство: </a:t>
            </a:r>
            <a:r>
              <a:rPr lang="ru-RU" dirty="0">
                <a:solidFill>
                  <a:srgbClr val="002060"/>
                </a:solidFill>
              </a:rPr>
              <a:t>по закону плавания </a:t>
            </a:r>
            <a:r>
              <a:rPr lang="ru-RU" dirty="0" smtClean="0">
                <a:solidFill>
                  <a:srgbClr val="002060"/>
                </a:solidFill>
              </a:rPr>
              <a:t>тел тело </a:t>
            </a:r>
            <a:r>
              <a:rPr lang="ru-RU" dirty="0">
                <a:solidFill>
                  <a:srgbClr val="002060"/>
                </a:solidFill>
              </a:rPr>
              <a:t>не тонет в жидкости, если его плотность меньше плотности</a:t>
            </a:r>
          </a:p>
          <a:p>
            <a:r>
              <a:rPr lang="ru-RU" dirty="0">
                <a:solidFill>
                  <a:srgbClr val="002060"/>
                </a:solidFill>
              </a:rPr>
              <a:t>жидкости.</a:t>
            </a:r>
          </a:p>
        </p:txBody>
      </p:sp>
    </p:spTree>
    <p:extLst>
      <p:ext uri="{BB962C8B-B14F-4D97-AF65-F5344CB8AC3E}">
        <p14:creationId xmlns:p14="http://schemas.microsoft.com/office/powerpoint/2010/main" val="2273560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8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641350" y="954088"/>
            <a:ext cx="2813050" cy="59055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40697" y="6536602"/>
            <a:ext cx="388537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908925" y="5232400"/>
            <a:ext cx="3532188" cy="119538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983163" y="5195888"/>
            <a:ext cx="2373312" cy="123190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136775" y="5200650"/>
            <a:ext cx="2154238" cy="1227138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801100" y="2579688"/>
            <a:ext cx="2552700" cy="147161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801100" y="1722438"/>
            <a:ext cx="2552700" cy="67310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57225" y="1701800"/>
            <a:ext cx="2813050" cy="703263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28650" y="2574925"/>
            <a:ext cx="2813050" cy="147161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801100" y="971550"/>
            <a:ext cx="2552700" cy="59055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4721225" y="968375"/>
            <a:ext cx="2608263" cy="2514600"/>
          </a:xfrm>
          <a:prstGeom prst="ellipse">
            <a:avLst/>
          </a:prstGeom>
          <a:solidFill>
            <a:srgbClr val="2F5597">
              <a:alpha val="96000"/>
            </a:srgbClr>
          </a:solidFill>
          <a:ln w="25400">
            <a:solidFill>
              <a:srgbClr val="2F5597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34" name="Овал 33"/>
          <p:cNvSpPr/>
          <p:nvPr/>
        </p:nvSpPr>
        <p:spPr>
          <a:xfrm>
            <a:off x="5745163" y="2384425"/>
            <a:ext cx="2752725" cy="2659063"/>
          </a:xfrm>
          <a:prstGeom prst="ellipse">
            <a:avLst/>
          </a:prstGeom>
          <a:solidFill>
            <a:srgbClr val="C00000">
              <a:alpha val="90000"/>
            </a:srgbClr>
          </a:solidFill>
          <a:ln w="38100">
            <a:solidFill>
              <a:srgbClr val="D6421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36" name="Прямоугольник 35"/>
          <p:cNvSpPr/>
          <p:nvPr/>
        </p:nvSpPr>
        <p:spPr>
          <a:xfrm>
            <a:off x="722313" y="1000125"/>
            <a:ext cx="2613025" cy="50006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1. Разделы математики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8931275" y="1744663"/>
            <a:ext cx="2341563" cy="608012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Open Sans Light" panose="020B0306030504020204" pitchFamily="34" charset="0"/>
                <a:ea typeface="+mn-ea"/>
                <a:cs typeface="Open Sans Light" panose="020B0306030504020204" pitchFamily="34" charset="0"/>
              </a:rPr>
              <a:t>2. Ситуация функционирования текста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5059363" y="5264150"/>
            <a:ext cx="2208212" cy="10922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Здоровье, ресурсы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кружающая среда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язь науки и технологии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969250" y="5292725"/>
            <a:ext cx="3384550" cy="106362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3. Давать научные объяснения, применять естественно-научные методы исследования, интерпретировать данные,  делать выводы</a:t>
            </a:r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Open Sans Light" pitchFamily="34" charset="0"/>
            </a:endParaRPr>
          </a:p>
        </p:txBody>
      </p:sp>
      <p:sp>
        <p:nvSpPr>
          <p:cNvPr id="40" name="Прямоугольник 55"/>
          <p:cNvSpPr>
            <a:spLocks noChangeArrowheads="1"/>
          </p:cNvSpPr>
          <p:nvPr/>
        </p:nvSpPr>
        <p:spPr bwMode="auto">
          <a:xfrm>
            <a:off x="5003800" y="1565275"/>
            <a:ext cx="220186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Содержательна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модель</a:t>
            </a:r>
          </a:p>
        </p:txBody>
      </p:sp>
      <p:sp>
        <p:nvSpPr>
          <p:cNvPr id="41" name="Прямоугольник 57"/>
          <p:cNvSpPr>
            <a:spLocks noChangeArrowheads="1"/>
          </p:cNvSpPr>
          <p:nvPr/>
        </p:nvSpPr>
        <p:spPr bwMode="auto">
          <a:xfrm>
            <a:off x="6470650" y="3403600"/>
            <a:ext cx="18224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Контексты 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ситуации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8931275" y="2625725"/>
            <a:ext cx="2341563" cy="1352550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Open Sans Light" panose="020B0306030504020204" pitchFamily="34" charset="0"/>
                <a:ea typeface="+mn-ea"/>
                <a:cs typeface="Open Sans Light" panose="020B0306030504020204" pitchFamily="34" charset="0"/>
              </a:rPr>
              <a:t>3. Работать с информацией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1" i="0" u="none" strike="noStrike" kern="1200" cap="none" spc="0" normalizeH="0" baseline="0" noProof="0" smtClean="0">
              <a:ln>
                <a:noFill/>
              </a:ln>
              <a:solidFill>
                <a:srgbClr val="3B3838"/>
              </a:solidFill>
              <a:effectLst/>
              <a:uLnTx/>
              <a:uFillTx/>
              <a:latin typeface="Open Sans Light" panose="020B0306030504020204" pitchFamily="34" charset="0"/>
              <a:ea typeface="+mn-ea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Open Sans Light" panose="020B0306030504020204" pitchFamily="34" charset="0"/>
                <a:ea typeface="+mn-ea"/>
                <a:cs typeface="Open Sans Light" panose="020B0306030504020204" pitchFamily="34" charset="0"/>
              </a:rPr>
              <a:t>находить и извлекать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Open Sans Light" panose="020B0306030504020204" pitchFamily="34" charset="0"/>
                <a:ea typeface="+mn-ea"/>
                <a:cs typeface="Open Sans Light" panose="020B0306030504020204" pitchFamily="34" charset="0"/>
              </a:rPr>
              <a:t>осмысливать и оценивать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Open Sans Light" panose="020B0306030504020204" pitchFamily="34" charset="0"/>
                <a:ea typeface="+mn-ea"/>
                <a:cs typeface="Open Sans Light" panose="020B0306030504020204" pitchFamily="34" charset="0"/>
              </a:rPr>
              <a:t>интерпретировать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230438" y="5241925"/>
            <a:ext cx="1944687" cy="111442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1. Естественно-научные предметы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22313" y="2625725"/>
            <a:ext cx="2613025" cy="135255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3. Формулировать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722313" y="1744663"/>
            <a:ext cx="2624137" cy="60801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Мир индивидуума, социума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разования и наук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8951913" y="1039813"/>
            <a:ext cx="2341562" cy="454025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smtClean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Open Sans Light" panose="020B0306030504020204" pitchFamily="34" charset="0"/>
                <a:ea typeface="+mn-ea"/>
                <a:cs typeface="Open Sans Light" panose="020B0306030504020204" pitchFamily="34" charset="0"/>
              </a:rPr>
              <a:t>1. Типы и форматы текста</a:t>
            </a:r>
          </a:p>
        </p:txBody>
      </p:sp>
      <p:sp>
        <p:nvSpPr>
          <p:cNvPr id="47" name="Овал 46"/>
          <p:cNvSpPr/>
          <p:nvPr/>
        </p:nvSpPr>
        <p:spPr>
          <a:xfrm>
            <a:off x="3962400" y="2435225"/>
            <a:ext cx="2689225" cy="2628900"/>
          </a:xfrm>
          <a:prstGeom prst="ellipse">
            <a:avLst/>
          </a:prstGeom>
          <a:solidFill>
            <a:schemeClr val="accent2">
              <a:alpha val="88000"/>
            </a:schemeClr>
          </a:solidFill>
          <a:ln w="25400">
            <a:solidFill>
              <a:srgbClr val="ED7D3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sp>
      <p:sp>
        <p:nvSpPr>
          <p:cNvPr id="51" name="Прямоугольник 60"/>
          <p:cNvSpPr>
            <a:spLocks noChangeArrowheads="1"/>
          </p:cNvSpPr>
          <p:nvPr/>
        </p:nvSpPr>
        <p:spPr bwMode="auto">
          <a:xfrm>
            <a:off x="3930650" y="3425825"/>
            <a:ext cx="2387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Компетентностна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 модель</a:t>
            </a:r>
          </a:p>
        </p:txBody>
      </p:sp>
      <p:sp>
        <p:nvSpPr>
          <p:cNvPr id="64" name="TextBox 70"/>
          <p:cNvSpPr txBox="1">
            <a:spLocks noChangeArrowheads="1"/>
          </p:cNvSpPr>
          <p:nvPr/>
        </p:nvSpPr>
        <p:spPr bwMode="auto">
          <a:xfrm>
            <a:off x="5310188" y="2913063"/>
            <a:ext cx="16716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БЛОК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srgbClr val="29479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ЗАДАНИЙ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641350" y="4586288"/>
            <a:ext cx="280988" cy="22225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6" name="Прямоугольник 1"/>
          <p:cNvSpPr>
            <a:spLocks noChangeArrowheads="1"/>
          </p:cNvSpPr>
          <p:nvPr/>
        </p:nvSpPr>
        <p:spPr bwMode="auto">
          <a:xfrm>
            <a:off x="922338" y="4621213"/>
            <a:ext cx="283051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Естественно–научная грамотность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641350" y="4889500"/>
            <a:ext cx="280988" cy="22225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641350" y="4321175"/>
            <a:ext cx="280988" cy="215900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9" name="Прямоугольник 58"/>
          <p:cNvSpPr>
            <a:spLocks noChangeArrowheads="1"/>
          </p:cNvSpPr>
          <p:nvPr/>
        </p:nvSpPr>
        <p:spPr bwMode="auto">
          <a:xfrm>
            <a:off x="906463" y="4337050"/>
            <a:ext cx="28305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Читательская грамотность</a:t>
            </a:r>
          </a:p>
        </p:txBody>
      </p:sp>
      <p:sp>
        <p:nvSpPr>
          <p:cNvPr id="70" name="Прямоугольник 59"/>
          <p:cNvSpPr>
            <a:spLocks noChangeArrowheads="1"/>
          </p:cNvSpPr>
          <p:nvPr/>
        </p:nvSpPr>
        <p:spPr bwMode="auto">
          <a:xfrm>
            <a:off x="922338" y="4889500"/>
            <a:ext cx="283051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Open Sans Light" pitchFamily="34" charset="0"/>
              </a:rPr>
              <a:t>Математическая грамотность</a:t>
            </a:r>
          </a:p>
        </p:txBody>
      </p:sp>
      <p:sp>
        <p:nvSpPr>
          <p:cNvPr id="72" name="Заголовок 1"/>
          <p:cNvSpPr>
            <a:spLocks noGrp="1"/>
          </p:cNvSpPr>
          <p:nvPr>
            <p:ph type="title"/>
          </p:nvPr>
        </p:nvSpPr>
        <p:spPr>
          <a:xfrm>
            <a:off x="1852252" y="-28261"/>
            <a:ext cx="7307263" cy="741363"/>
          </a:xfrm>
        </p:spPr>
        <p:txBody>
          <a:bodyPr/>
          <a:lstStyle/>
          <a:p>
            <a:pPr eaLnBrk="1" hangingPunct="1"/>
            <a:r>
              <a:rPr kumimoji="0" lang="ru-RU" altLang="ru-RU" sz="2400" b="1" dirty="0" smtClean="0">
                <a:solidFill>
                  <a:srgbClr val="003366"/>
                </a:solidFill>
                <a:latin typeface="Arial" panose="020B0604020202020204" pitchFamily="34" charset="0"/>
              </a:rPr>
              <a:t>ПРИНЦИПЫ СОЗДАНИЯ ЗАДАНИЙ </a:t>
            </a:r>
            <a:r>
              <a:rPr kumimoji="0" lang="en-US" altLang="ru-RU" sz="2400" b="1" dirty="0" smtClean="0">
                <a:solidFill>
                  <a:srgbClr val="003366"/>
                </a:solidFill>
                <a:latin typeface="Arial" panose="020B0604020202020204" pitchFamily="34" charset="0"/>
              </a:rPr>
              <a:t>PISA</a:t>
            </a:r>
            <a:endParaRPr kumimoji="0" lang="ru-RU" altLang="ru-RU" sz="2400" b="1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5028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37427" y="117557"/>
            <a:ext cx="44335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РАССМОТРИМ ЗАДАНИЕ ПО ЕНГ (</a:t>
            </a:r>
            <a:r>
              <a:rPr lang="en-US" sz="2000" b="1" dirty="0" smtClean="0">
                <a:solidFill>
                  <a:srgbClr val="002060"/>
                </a:solidFill>
              </a:rPr>
              <a:t>PISA</a:t>
            </a:r>
            <a:r>
              <a:rPr lang="ru-RU" sz="2000" b="1" dirty="0" smtClean="0">
                <a:solidFill>
                  <a:srgbClr val="002060"/>
                </a:solidFill>
              </a:rPr>
              <a:t>)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4453" y="77637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Задание 3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3493" y="664234"/>
            <a:ext cx="4218317" cy="17384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474453" y="1145709"/>
            <a:ext cx="63490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Какое физическое условие должно быть выполнено, чтобы </a:t>
            </a:r>
            <a:r>
              <a:rPr lang="ru-RU" b="1" dirty="0" smtClean="0">
                <a:solidFill>
                  <a:srgbClr val="002060"/>
                </a:solidFill>
              </a:rPr>
              <a:t>айсберг плавал </a:t>
            </a:r>
            <a:r>
              <a:rPr lang="ru-RU" b="1" dirty="0">
                <a:solidFill>
                  <a:srgbClr val="002060"/>
                </a:solidFill>
              </a:rPr>
              <a:t>и находился в равновесии относительно поверхности воды?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3829880"/>
              </p:ext>
            </p:extLst>
          </p:nvPr>
        </p:nvGraphicFramePr>
        <p:xfrm>
          <a:off x="1746041" y="3717789"/>
          <a:ext cx="8693816" cy="27330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963982">
                  <a:extLst>
                    <a:ext uri="{9D8B030D-6E8A-4147-A177-3AD203B41FA5}">
                      <a16:colId xmlns:a16="http://schemas.microsoft.com/office/drawing/2014/main" val="3145794182"/>
                    </a:ext>
                  </a:extLst>
                </a:gridCol>
                <a:gridCol w="5729834">
                  <a:extLst>
                    <a:ext uri="{9D8B030D-6E8A-4147-A177-3AD203B41FA5}">
                      <a16:colId xmlns:a16="http://schemas.microsoft.com/office/drawing/2014/main" val="32440024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Компетенц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научное объяснение явлений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910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Уме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распознавать, использовать и создавать объяснительные модели</a:t>
                      </a:r>
                    </a:p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и представления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869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Сложность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средний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0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Предмет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физика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771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Элемент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 содержан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плавание тел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4467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Оценива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1 балл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 : </a:t>
                      </a:r>
                      <a:r>
                        <a:rPr lang="ru-RU" sz="1400" b="0" baseline="0" dirty="0" smtClean="0">
                          <a:solidFill>
                            <a:srgbClr val="002060"/>
                          </a:solidFill>
                        </a:rPr>
                        <a:t>Названо условие: сила тяжести айсберга равна действующей на него выталкивающей силе (или архимедовой силе).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0 баллов: </a:t>
                      </a:r>
                      <a:r>
                        <a:rPr lang="ru-RU" sz="1400" b="0" baseline="0" dirty="0" smtClean="0">
                          <a:solidFill>
                            <a:srgbClr val="002060"/>
                          </a:solidFill>
                        </a:rPr>
                        <a:t>Другие ответы.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24131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74453" y="2260414"/>
            <a:ext cx="98966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Ответ: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Сила </a:t>
            </a:r>
            <a:r>
              <a:rPr lang="ru-RU" dirty="0">
                <a:solidFill>
                  <a:srgbClr val="002060"/>
                </a:solidFill>
              </a:rPr>
              <a:t>тяжести айсберга равна действующей на него выталкивающей силе (или архимедовой силе).</a:t>
            </a:r>
          </a:p>
        </p:txBody>
      </p:sp>
    </p:spTree>
    <p:extLst>
      <p:ext uri="{BB962C8B-B14F-4D97-AF65-F5344CB8AC3E}">
        <p14:creationId xmlns:p14="http://schemas.microsoft.com/office/powerpoint/2010/main" val="2585573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37427" y="117557"/>
            <a:ext cx="44335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РАССМОТРИМ ЗАДАНИЕ ПО ЕНГ (</a:t>
            </a:r>
            <a:r>
              <a:rPr lang="en-US" sz="2000" b="1" dirty="0" smtClean="0">
                <a:solidFill>
                  <a:srgbClr val="002060"/>
                </a:solidFill>
              </a:rPr>
              <a:t>PISA</a:t>
            </a:r>
            <a:r>
              <a:rPr lang="ru-RU" sz="2000" b="1" dirty="0" smtClean="0">
                <a:solidFill>
                  <a:srgbClr val="002060"/>
                </a:solidFill>
              </a:rPr>
              <a:t>)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4453" y="77637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Задание 4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74454" y="1089545"/>
            <a:ext cx="69528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Какие результаты получили </a:t>
            </a:r>
            <a:r>
              <a:rPr lang="ru-RU" b="1" dirty="0" smtClean="0">
                <a:solidFill>
                  <a:srgbClr val="002060"/>
                </a:solidFill>
              </a:rPr>
              <a:t>школьники </a:t>
            </a:r>
            <a:r>
              <a:rPr lang="ru-RU" b="1" dirty="0">
                <a:solidFill>
                  <a:srgbClr val="002060"/>
                </a:solidFill>
              </a:rPr>
              <a:t>в своём эксперименте?</a:t>
            </a:r>
          </a:p>
          <a:p>
            <a:r>
              <a:rPr lang="ru-RU" i="1" dirty="0">
                <a:solidFill>
                  <a:srgbClr val="002060"/>
                </a:solidFill>
              </a:rPr>
              <a:t>Выберите один ответ.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607560"/>
              </p:ext>
            </p:extLst>
          </p:nvPr>
        </p:nvGraphicFramePr>
        <p:xfrm>
          <a:off x="1268222" y="3874969"/>
          <a:ext cx="9649453" cy="23723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386013">
                  <a:extLst>
                    <a:ext uri="{9D8B030D-6E8A-4147-A177-3AD203B41FA5}">
                      <a16:colId xmlns:a16="http://schemas.microsoft.com/office/drawing/2014/main" val="3145794182"/>
                    </a:ext>
                  </a:extLst>
                </a:gridCol>
                <a:gridCol w="7263440">
                  <a:extLst>
                    <a:ext uri="{9D8B030D-6E8A-4147-A177-3AD203B41FA5}">
                      <a16:colId xmlns:a16="http://schemas.microsoft.com/office/drawing/2014/main" val="32440024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Компетенц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научное объяснение явлений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910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Уме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делать и научно обосновывать прогнозы о протекании процесса или явления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869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Сложность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средний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0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Предмет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физика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771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Элемент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 содержан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плавание тел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4467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Оценива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1 балл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 : </a:t>
                      </a:r>
                      <a:r>
                        <a:rPr lang="ru-RU" sz="1400" b="0" baseline="0" dirty="0" smtClean="0">
                          <a:solidFill>
                            <a:srgbClr val="002060"/>
                          </a:solidFill>
                        </a:rPr>
                        <a:t>D. Масса льда = 1 кг; объём льда &gt; 1 л; объём талой воды = 1л.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0 баллов: </a:t>
                      </a:r>
                      <a:r>
                        <a:rPr lang="ru-RU" sz="1400" b="0" baseline="0" dirty="0" smtClean="0">
                          <a:solidFill>
                            <a:srgbClr val="002060"/>
                          </a:solidFill>
                        </a:rPr>
                        <a:t>Другие ответы.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241310"/>
                  </a:ext>
                </a:extLst>
              </a:tr>
            </a:tbl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5707" y="776377"/>
            <a:ext cx="4648200" cy="192405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Прямоугольник 9"/>
          <p:cNvSpPr/>
          <p:nvPr/>
        </p:nvSpPr>
        <p:spPr>
          <a:xfrm>
            <a:off x="474453" y="1735876"/>
            <a:ext cx="79666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A. </a:t>
            </a:r>
            <a:r>
              <a:rPr lang="ru-RU" dirty="0">
                <a:solidFill>
                  <a:srgbClr val="002060"/>
                </a:solidFill>
              </a:rPr>
              <a:t>Масса льда = 1 кг; объём льда &gt; 1 л; объём талой воды &gt; 1 л.</a:t>
            </a:r>
          </a:p>
          <a:p>
            <a:r>
              <a:rPr lang="en-US" dirty="0">
                <a:solidFill>
                  <a:srgbClr val="002060"/>
                </a:solidFill>
              </a:rPr>
              <a:t>B. </a:t>
            </a:r>
            <a:r>
              <a:rPr lang="ru-RU" dirty="0">
                <a:solidFill>
                  <a:srgbClr val="002060"/>
                </a:solidFill>
              </a:rPr>
              <a:t>Масса льда &gt; 1 кг; объём льда &gt; 1 л; объём талой воды &gt; 1 л.</a:t>
            </a:r>
          </a:p>
          <a:p>
            <a:r>
              <a:rPr lang="en-US" dirty="0">
                <a:solidFill>
                  <a:srgbClr val="002060"/>
                </a:solidFill>
              </a:rPr>
              <a:t>C. </a:t>
            </a:r>
            <a:r>
              <a:rPr lang="ru-RU" dirty="0">
                <a:solidFill>
                  <a:srgbClr val="002060"/>
                </a:solidFill>
              </a:rPr>
              <a:t>Масса льда &lt; 1 кг; объём льда &lt; 1 л; объём талой воды &lt; 1 л.</a:t>
            </a:r>
          </a:p>
          <a:p>
            <a:r>
              <a:rPr lang="en-US" dirty="0">
                <a:solidFill>
                  <a:srgbClr val="002060"/>
                </a:solidFill>
              </a:rPr>
              <a:t>D. </a:t>
            </a:r>
            <a:r>
              <a:rPr lang="ru-RU" dirty="0">
                <a:solidFill>
                  <a:srgbClr val="002060"/>
                </a:solidFill>
              </a:rPr>
              <a:t>Масса льда = 1 кг; объём льда &gt; 1 л; объём талой воды = 1 л.</a:t>
            </a:r>
          </a:p>
          <a:p>
            <a:r>
              <a:rPr lang="en-US" dirty="0">
                <a:solidFill>
                  <a:srgbClr val="002060"/>
                </a:solidFill>
              </a:rPr>
              <a:t>E. </a:t>
            </a:r>
            <a:r>
              <a:rPr lang="ru-RU" dirty="0">
                <a:solidFill>
                  <a:srgbClr val="002060"/>
                </a:solidFill>
              </a:rPr>
              <a:t>Масса льда = 1 кг; объём льда &gt; 1 л; объём талой воды &lt; 1 л.</a:t>
            </a:r>
          </a:p>
        </p:txBody>
      </p:sp>
      <p:sp>
        <p:nvSpPr>
          <p:cNvPr id="17" name="Овал 16"/>
          <p:cNvSpPr/>
          <p:nvPr/>
        </p:nvSpPr>
        <p:spPr>
          <a:xfrm>
            <a:off x="500333" y="2618841"/>
            <a:ext cx="293299" cy="27604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1755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/>
      <p:bldP spid="1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37427" y="117557"/>
            <a:ext cx="44335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РАССМОТРИМ ЗАДАНИЕ ПО ЕНГ (</a:t>
            </a:r>
            <a:r>
              <a:rPr lang="en-US" sz="2000" b="1" dirty="0" smtClean="0">
                <a:solidFill>
                  <a:srgbClr val="002060"/>
                </a:solidFill>
              </a:rPr>
              <a:t>PISA</a:t>
            </a:r>
            <a:r>
              <a:rPr lang="ru-RU" sz="2000" b="1" dirty="0" smtClean="0">
                <a:solidFill>
                  <a:srgbClr val="002060"/>
                </a:solidFill>
              </a:rPr>
              <a:t>)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4453" y="77637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Задание 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5</a:t>
            </a:r>
            <a:endParaRPr lang="ru-RU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74454" y="1143738"/>
            <a:ext cx="67911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Почему многолетний лёд из морской воды со временем опресняется?</a:t>
            </a:r>
          </a:p>
          <a:p>
            <a:r>
              <a:rPr lang="ru-RU" i="1" dirty="0">
                <a:solidFill>
                  <a:srgbClr val="002060"/>
                </a:solidFill>
              </a:rPr>
              <a:t>Выберите один ответ.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069020"/>
              </p:ext>
            </p:extLst>
          </p:nvPr>
        </p:nvGraphicFramePr>
        <p:xfrm>
          <a:off x="1340598" y="4056316"/>
          <a:ext cx="9649453" cy="25857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386013">
                  <a:extLst>
                    <a:ext uri="{9D8B030D-6E8A-4147-A177-3AD203B41FA5}">
                      <a16:colId xmlns:a16="http://schemas.microsoft.com/office/drawing/2014/main" val="3145794182"/>
                    </a:ext>
                  </a:extLst>
                </a:gridCol>
                <a:gridCol w="7263440">
                  <a:extLst>
                    <a:ext uri="{9D8B030D-6E8A-4147-A177-3AD203B41FA5}">
                      <a16:colId xmlns:a16="http://schemas.microsoft.com/office/drawing/2014/main" val="32440024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Компетенц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научное объяснение явлений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910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Уме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интерпретация данных и использование научных доказательств для получения выводов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869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Сложность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средний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0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Предмет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физика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771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Элемент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 содержания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rgbClr val="002060"/>
                          </a:solidFill>
                        </a:rPr>
                        <a:t>плавание тел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44673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Оценивание</a:t>
                      </a:r>
                      <a:endParaRPr lang="ru-RU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</a:rPr>
                        <a:t>1 балл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 : </a:t>
                      </a:r>
                      <a:r>
                        <a:rPr lang="ru-RU" sz="1400" b="0" baseline="0" dirty="0" smtClean="0">
                          <a:solidFill>
                            <a:srgbClr val="002060"/>
                          </a:solidFill>
                        </a:rPr>
                        <a:t>А. Капли рассола, находящиеся между кристаллами пресного льда, постепенно стекают вниз.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</a:rPr>
                        <a:t>0 баллов: </a:t>
                      </a:r>
                      <a:r>
                        <a:rPr lang="ru-RU" sz="1400" b="0" baseline="0" dirty="0" smtClean="0">
                          <a:solidFill>
                            <a:srgbClr val="002060"/>
                          </a:solidFill>
                        </a:rPr>
                        <a:t>Другие варианты ответа.</a:t>
                      </a:r>
                      <a:endParaRPr lang="ru-RU" sz="14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241310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5599" y="633104"/>
            <a:ext cx="4648200" cy="1685925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74453" y="2282831"/>
            <a:ext cx="108383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A. Капли рассола, находящиеся </a:t>
            </a:r>
            <a:r>
              <a:rPr lang="ru-RU" dirty="0" smtClean="0">
                <a:solidFill>
                  <a:srgbClr val="002060"/>
                </a:solidFill>
              </a:rPr>
              <a:t>между кристаллами </a:t>
            </a:r>
            <a:r>
              <a:rPr lang="ru-RU" dirty="0">
                <a:solidFill>
                  <a:srgbClr val="002060"/>
                </a:solidFill>
              </a:rPr>
              <a:t>пресного льда, </a:t>
            </a:r>
            <a:r>
              <a:rPr lang="ru-RU" dirty="0" smtClean="0">
                <a:solidFill>
                  <a:srgbClr val="002060"/>
                </a:solidFill>
              </a:rPr>
              <a:t>постепенно </a:t>
            </a:r>
            <a:r>
              <a:rPr lang="ru-RU" dirty="0">
                <a:solidFill>
                  <a:srgbClr val="002060"/>
                </a:solidFill>
              </a:rPr>
              <a:t>стекают вниз.</a:t>
            </a:r>
          </a:p>
          <a:p>
            <a:r>
              <a:rPr lang="ru-RU" dirty="0">
                <a:solidFill>
                  <a:srgbClr val="002060"/>
                </a:solidFill>
              </a:rPr>
              <a:t>B. Лёд будет солёным только </a:t>
            </a:r>
            <a:r>
              <a:rPr lang="ru-RU" dirty="0" smtClean="0">
                <a:solidFill>
                  <a:srgbClr val="002060"/>
                </a:solidFill>
              </a:rPr>
              <a:t>снаружи, если </a:t>
            </a:r>
            <a:r>
              <a:rPr lang="ru-RU" dirty="0">
                <a:solidFill>
                  <a:srgbClr val="002060"/>
                </a:solidFill>
              </a:rPr>
              <a:t>внешнюю соль смыть, то сам </a:t>
            </a:r>
            <a:r>
              <a:rPr lang="ru-RU" dirty="0" smtClean="0">
                <a:solidFill>
                  <a:srgbClr val="002060"/>
                </a:solidFill>
              </a:rPr>
              <a:t>лёд не </a:t>
            </a:r>
            <a:r>
              <a:rPr lang="ru-RU" dirty="0">
                <a:solidFill>
                  <a:srgbClr val="002060"/>
                </a:solidFill>
              </a:rPr>
              <a:t>солёный.</a:t>
            </a:r>
          </a:p>
          <a:p>
            <a:r>
              <a:rPr lang="ru-RU" dirty="0">
                <a:solidFill>
                  <a:srgbClr val="002060"/>
                </a:solidFill>
              </a:rPr>
              <a:t>C. Происходит вымораживание (</a:t>
            </a:r>
            <a:r>
              <a:rPr lang="ru-RU" dirty="0" smtClean="0">
                <a:solidFill>
                  <a:srgbClr val="002060"/>
                </a:solidFill>
              </a:rPr>
              <a:t>вытеснение</a:t>
            </a:r>
            <a:r>
              <a:rPr lang="ru-RU" dirty="0">
                <a:solidFill>
                  <a:srgbClr val="002060"/>
                </a:solidFill>
              </a:rPr>
              <a:t>) солей из кристаллов льда в </a:t>
            </a:r>
            <a:r>
              <a:rPr lang="ru-RU" dirty="0" smtClean="0">
                <a:solidFill>
                  <a:srgbClr val="002060"/>
                </a:solidFill>
              </a:rPr>
              <a:t>капельки </a:t>
            </a:r>
            <a:r>
              <a:rPr lang="ru-RU" dirty="0">
                <a:solidFill>
                  <a:srgbClr val="002060"/>
                </a:solidFill>
              </a:rPr>
              <a:t>рассола.</a:t>
            </a:r>
          </a:p>
          <a:p>
            <a:r>
              <a:rPr lang="ru-RU" dirty="0">
                <a:solidFill>
                  <a:srgbClr val="002060"/>
                </a:solidFill>
              </a:rPr>
              <a:t>D. Любой лёд и снег обычно </a:t>
            </a:r>
            <a:r>
              <a:rPr lang="ru-RU" dirty="0" smtClean="0">
                <a:solidFill>
                  <a:srgbClr val="002060"/>
                </a:solidFill>
              </a:rPr>
              <a:t>пресные. Когда </a:t>
            </a:r>
            <a:r>
              <a:rPr lang="ru-RU" dirty="0">
                <a:solidFill>
                  <a:srgbClr val="002060"/>
                </a:solidFill>
              </a:rPr>
              <a:t>вода замерзает, вся соль </a:t>
            </a:r>
            <a:r>
              <a:rPr lang="ru-RU" dirty="0" smtClean="0">
                <a:solidFill>
                  <a:srgbClr val="002060"/>
                </a:solidFill>
              </a:rPr>
              <a:t>из льда </a:t>
            </a:r>
            <a:r>
              <a:rPr lang="ru-RU" dirty="0">
                <a:solidFill>
                  <a:srgbClr val="002060"/>
                </a:solidFill>
              </a:rPr>
              <a:t>вытесняется в морскую воду.</a:t>
            </a:r>
          </a:p>
        </p:txBody>
      </p:sp>
      <p:sp>
        <p:nvSpPr>
          <p:cNvPr id="14" name="Овал 13"/>
          <p:cNvSpPr/>
          <p:nvPr/>
        </p:nvSpPr>
        <p:spPr>
          <a:xfrm>
            <a:off x="500333" y="2351428"/>
            <a:ext cx="293299" cy="27604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5599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/>
      <p:bldP spid="14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40815" y="48542"/>
            <a:ext cx="775404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В чём разница между заданиями на формирование ЕНГ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и заданиями на оценку ЕНГ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94735" y="975875"/>
            <a:ext cx="4316361" cy="45228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Что формируем в рамках предмета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296879" y="980761"/>
            <a:ext cx="5179102" cy="45228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Что проверяется на оценочных мероприятиях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34934" y="1710813"/>
            <a:ext cx="4544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1. Умения, составляющие компетенции ЕНГ в рамках предмета «Физика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92949" y="1709189"/>
            <a:ext cx="58066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1. Насколько учащиеся владеют компетенциями в рамках естественно-научной области 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34933" y="2583531"/>
            <a:ext cx="4544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2. Упор на предметное знание и </a:t>
            </a:r>
            <a:r>
              <a:rPr lang="ru-RU" dirty="0" err="1" smtClean="0">
                <a:solidFill>
                  <a:srgbClr val="002060"/>
                </a:solidFill>
              </a:rPr>
              <a:t>метапредметные</a:t>
            </a:r>
            <a:r>
              <a:rPr lang="ru-RU" dirty="0" smtClean="0">
                <a:solidFill>
                  <a:srgbClr val="002060"/>
                </a:solidFill>
              </a:rPr>
              <a:t> умения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092949" y="2583530"/>
            <a:ext cx="56271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2</a:t>
            </a:r>
            <a:r>
              <a:rPr lang="ru-RU" dirty="0" smtClean="0">
                <a:solidFill>
                  <a:srgbClr val="002060"/>
                </a:solidFill>
              </a:rPr>
              <a:t>. Упор на практическое применение естественно-научных знаний в реальных жизненных ситуациях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Стрелка вниз 8"/>
          <p:cNvSpPr/>
          <p:nvPr/>
        </p:nvSpPr>
        <p:spPr>
          <a:xfrm>
            <a:off x="5198213" y="3386960"/>
            <a:ext cx="1347020" cy="622488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713542" y="4134867"/>
            <a:ext cx="4316361" cy="45228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Что должны предпринять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261312" y="4750007"/>
            <a:ext cx="76632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Увеличить количество контекстных задач на уроках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По возможности рассматривать задачи с элементами исследования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Рассматривать задачи с </a:t>
            </a:r>
            <a:r>
              <a:rPr lang="ru-RU" dirty="0" err="1" smtClean="0">
                <a:solidFill>
                  <a:srgbClr val="002060"/>
                </a:solidFill>
              </a:rPr>
              <a:t>метапредметным</a:t>
            </a:r>
            <a:r>
              <a:rPr lang="ru-RU" dirty="0" smtClean="0">
                <a:solidFill>
                  <a:srgbClr val="002060"/>
                </a:solidFill>
              </a:rPr>
              <a:t> содержанием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532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 animBg="1"/>
      <p:bldP spid="8" grpId="0"/>
      <p:bldP spid="20" grpId="0"/>
      <p:bldP spid="21" grpId="0"/>
      <p:bldP spid="22" grpId="0"/>
      <p:bldP spid="9" grpId="0" animBg="1"/>
      <p:bldP spid="25" grpId="0" animBg="1"/>
      <p:bldP spid="2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08857" y="730007"/>
            <a:ext cx="1084217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Times New Roman" panose="02020603050405020304" pitchFamily="18" charset="0"/>
              </a:rPr>
              <a:t>«Креативность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Times New Roman" panose="02020603050405020304" pitchFamily="18" charset="0"/>
              </a:rPr>
              <a:t>— это значит копать глубже, смотреть лучше, исправлять ошибки, беседовать с кошкой, нырять в глубину, проходить сквозь стены, зажигать солнце, строить замок на песке, приветствовать будуще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Times New Roman" panose="02020603050405020304" pitchFamily="18" charset="0"/>
              </a:rPr>
              <a:t>.»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Times New Roman" panose="02020603050405020304" pitchFamily="18" charset="0"/>
              </a:rPr>
              <a:t>П.Торренс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8857" y="60463"/>
            <a:ext cx="471770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Креативность – что это?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489866" y="1828800"/>
            <a:ext cx="4158343" cy="957943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КРЕАТИВНОСТЬ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7173695" y="1824454"/>
            <a:ext cx="4158343" cy="957943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ТВОРЧЕСТВО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361223" y="2046515"/>
            <a:ext cx="1099458" cy="200289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361223" y="2379625"/>
            <a:ext cx="1099458" cy="200289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5138057" y="1656803"/>
            <a:ext cx="1741714" cy="1293226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 flipV="1">
            <a:off x="5165280" y="1619780"/>
            <a:ext cx="1676391" cy="1325903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385208" y="3172109"/>
            <a:ext cx="111922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Творчество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 – процесс, имеющий определённую специфику и приводящий к созданию нового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5207" y="3572219"/>
            <a:ext cx="114548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Креативность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 – потенциал, внутренний ресурс человека, его способность к конструктивному, нестандартному мышлению и поведению, осознанию и развитию своего опыта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047652" y="4244314"/>
            <a:ext cx="4129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Модель развития креативности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11462" y="4644424"/>
            <a:ext cx="993956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Цель (повышение уровня развития основных характеристик креативности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нципы (свобода выбора, открытость, деятельность, обратная связь, идеальность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пособы обучения (игровые, проектные, исследовательские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Формы (индивидуальные, групповые, парные, коллективные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зультат (умение предлагать оптимальные идеи, строить эффективные рассуждения, находить оригинальные ответы, подробно описывать ход решения)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32787" y="1361829"/>
            <a:ext cx="740908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?</a:t>
            </a:r>
            <a:endParaRPr kumimoji="0" lang="ru-RU" sz="9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537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animBg="1"/>
      <p:bldP spid="7" grpId="0" animBg="1"/>
      <p:bldP spid="5" grpId="0" animBg="1"/>
      <p:bldP spid="10" grpId="0" animBg="1"/>
      <p:bldP spid="20" grpId="0"/>
      <p:bldP spid="22" grpId="0"/>
      <p:bldP spid="21" grpId="0"/>
      <p:bldP spid="23" grpId="0"/>
      <p:bldP spid="16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95072" y="60463"/>
            <a:ext cx="46953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Развитие креативности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986528" y="730007"/>
            <a:ext cx="24817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Основная позиц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5072" y="1130117"/>
            <a:ext cx="118384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Times New Roman" panose="02020603050405020304" pitchFamily="18" charset="0"/>
              </a:rPr>
              <a:t>Важно преодолеть в учебном процессе «объектную» позицию ученика («Мне подскажут», «меня должны научить» и т.д.) и поставить его в позицию «субъективную», включая его в творческую, исследовательскую работу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5072" y="2053447"/>
            <a:ext cx="11645004" cy="923330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Times New Roman" panose="02020603050405020304" pitchFamily="18" charset="0"/>
              </a:rPr>
              <a:t>Развитие креативност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Times New Roman" panose="02020603050405020304" pitchFamily="18" charset="0"/>
              </a:rPr>
              <a:t>НЕВОЗМОЖНО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Times New Roman" panose="02020603050405020304" pitchFamily="18" charset="0"/>
              </a:rPr>
              <a:t> без понимания изучаемой дисциплины, так как именно от понимания зависит возможность адекватной трансляции полученных знаний, являющейся равнодействующей знания и опыта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5072" y="2976777"/>
            <a:ext cx="116450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Ведущим средством развития креативности при обучении естественным наукам является исследовательский практикум с включением эксперимента, позволяющего моделировать опыт применения полученных знаний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5072" y="3868772"/>
            <a:ext cx="12039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ВАЖНО!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66417" y="3899550"/>
            <a:ext cx="94957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В современном мире важно уметь решать проблемы, а не задачи с готовыми решениями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45474" y="4449788"/>
            <a:ext cx="59638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Какие формы заданий стоит включать в обучение?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anose="02040503050406030204" pitchFamily="18" charset="0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9472" y="4849898"/>
            <a:ext cx="4517712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дачи-кроссворды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спериментальные задания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дания-парадокс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нализ литературных произведений;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227412" y="4849898"/>
            <a:ext cx="540375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нализ кинематографических произведений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дания на анализ данных из других научных областей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дания на составление задач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02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7" grpId="0" animBg="1"/>
      <p:bldP spid="5" grpId="0"/>
      <p:bldP spid="6" grpId="0"/>
      <p:bldP spid="8" grpId="0"/>
      <p:bldP spid="10" grpId="0"/>
      <p:bldP spid="11" grpId="0"/>
      <p:bldP spid="13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40815" y="48542"/>
            <a:ext cx="47121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Задачи на креативное мышлени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40479" y="440702"/>
            <a:ext cx="35049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Ситуация «Транспорт будущего»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83078" y="857137"/>
            <a:ext cx="4848047" cy="34505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ШАГ 1. </a:t>
            </a:r>
            <a:r>
              <a:rPr lang="ru-RU" dirty="0">
                <a:solidFill>
                  <a:srgbClr val="002060"/>
                </a:solidFill>
              </a:rPr>
              <a:t>Читаем текст и анализируем ситуацию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83078" y="1196223"/>
            <a:ext cx="109124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Прочитайте вводный текст. Составьте и запишите два-три вопроса, ответы </a:t>
            </a:r>
            <a:r>
              <a:rPr lang="ru-RU" sz="1600" dirty="0" smtClean="0">
                <a:solidFill>
                  <a:srgbClr val="002060"/>
                </a:solidFill>
              </a:rPr>
              <a:t>на которые </a:t>
            </a:r>
            <a:r>
              <a:rPr lang="ru-RU" sz="1600" dirty="0">
                <a:solidFill>
                  <a:srgbClr val="002060"/>
                </a:solidFill>
              </a:rPr>
              <a:t>помогут понять, на что будут нацелены задания в этой ситуации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856672" y="1793581"/>
            <a:ext cx="7175514" cy="280076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Современный транспорт заметно </a:t>
            </a:r>
            <a:r>
              <a:rPr lang="ru-RU" sz="1600" dirty="0" smtClean="0">
                <a:solidFill>
                  <a:srgbClr val="002060"/>
                </a:solidFill>
              </a:rPr>
              <a:t>отличается от </a:t>
            </a:r>
            <a:r>
              <a:rPr lang="ru-RU" sz="1600" dirty="0">
                <a:solidFill>
                  <a:srgbClr val="002060"/>
                </a:solidFill>
              </a:rPr>
              <a:t>транспортных средств прошлого</a:t>
            </a:r>
            <a:r>
              <a:rPr lang="ru-RU" sz="1600" dirty="0" smtClean="0">
                <a:solidFill>
                  <a:srgbClr val="002060"/>
                </a:solidFill>
              </a:rPr>
              <a:t>.</a:t>
            </a:r>
          </a:p>
          <a:p>
            <a:r>
              <a:rPr lang="ru-RU" sz="1600" dirty="0">
                <a:solidFill>
                  <a:srgbClr val="002060"/>
                </a:solidFill>
              </a:rPr>
              <a:t>Изменилась не только конструкция транспортных средств, но и поменялись двигатели, изменились дороги. Мускульную энергию </a:t>
            </a:r>
            <a:r>
              <a:rPr lang="ru-RU" sz="1600" dirty="0" smtClean="0">
                <a:solidFill>
                  <a:srgbClr val="002060"/>
                </a:solidFill>
              </a:rPr>
              <a:t>людей и </a:t>
            </a:r>
            <a:r>
              <a:rPr lang="ru-RU" sz="1600" dirty="0">
                <a:solidFill>
                  <a:srgbClr val="002060"/>
                </a:solidFill>
              </a:rPr>
              <a:t>животных сменили энергия ветра, пара, электричества. </a:t>
            </a:r>
            <a:r>
              <a:rPr lang="ru-RU" sz="1600" dirty="0" smtClean="0">
                <a:solidFill>
                  <a:srgbClr val="002060"/>
                </a:solidFill>
              </a:rPr>
              <a:t>Наряду с </a:t>
            </a:r>
            <a:r>
              <a:rPr lang="ru-RU" sz="1600" dirty="0">
                <a:solidFill>
                  <a:srgbClr val="002060"/>
                </a:solidFill>
              </a:rPr>
              <a:t>грунтовыми дорогами проложены автомобильные трассы, </a:t>
            </a:r>
            <a:r>
              <a:rPr lang="ru-RU" sz="1600" dirty="0" smtClean="0">
                <a:solidFill>
                  <a:srgbClr val="002060"/>
                </a:solidFill>
              </a:rPr>
              <a:t>железные дороги</a:t>
            </a:r>
            <a:r>
              <a:rPr lang="ru-RU" sz="1600" dirty="0">
                <a:solidFill>
                  <a:srgbClr val="002060"/>
                </a:solidFill>
              </a:rPr>
              <a:t>, авиа трассы.</a:t>
            </a:r>
          </a:p>
          <a:p>
            <a:r>
              <a:rPr lang="ru-RU" sz="1600" dirty="0">
                <a:solidFill>
                  <a:srgbClr val="002060"/>
                </a:solidFill>
              </a:rPr>
              <a:t>А как вы думаете, куда и на чём мы будем ездить сами и </a:t>
            </a:r>
            <a:r>
              <a:rPr lang="ru-RU" sz="1600" dirty="0" smtClean="0">
                <a:solidFill>
                  <a:srgbClr val="002060"/>
                </a:solidFill>
              </a:rPr>
              <a:t>перевозить грузы </a:t>
            </a:r>
            <a:r>
              <a:rPr lang="ru-RU" sz="1600" dirty="0">
                <a:solidFill>
                  <a:srgbClr val="002060"/>
                </a:solidFill>
              </a:rPr>
              <a:t>лет через 10—20? Как будут выглядеть транспортные </a:t>
            </a:r>
            <a:r>
              <a:rPr lang="ru-RU" sz="1600" dirty="0" smtClean="0">
                <a:solidFill>
                  <a:srgbClr val="002060"/>
                </a:solidFill>
              </a:rPr>
              <a:t>средства и </a:t>
            </a:r>
            <a:r>
              <a:rPr lang="ru-RU" sz="1600" dirty="0">
                <a:solidFill>
                  <a:srgbClr val="002060"/>
                </a:solidFill>
              </a:rPr>
              <a:t>дороги? Какие появятся новые источники энергии?</a:t>
            </a:r>
          </a:p>
          <a:p>
            <a:r>
              <a:rPr lang="ru-RU" sz="1600" dirty="0">
                <a:solidFill>
                  <a:srgbClr val="002060"/>
                </a:solidFill>
              </a:rPr>
              <a:t>Выполняя последующие задания, используйте своё воображение </a:t>
            </a:r>
            <a:r>
              <a:rPr lang="ru-RU" sz="1600" dirty="0" smtClean="0">
                <a:solidFill>
                  <a:srgbClr val="002060"/>
                </a:solidFill>
              </a:rPr>
              <a:t>для того</a:t>
            </a:r>
            <a:r>
              <a:rPr lang="ru-RU" sz="1600" dirty="0">
                <a:solidFill>
                  <a:srgbClr val="002060"/>
                </a:solidFill>
              </a:rPr>
              <a:t>, чтобы представить, каким может стать транспорт в будущем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832" y="1793581"/>
            <a:ext cx="4566070" cy="3059738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2606198" y="5223931"/>
            <a:ext cx="6666175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Задание: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Обсудите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составленные вопросы с одноклассниками.</a:t>
            </a:r>
          </a:p>
          <a:p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Как вы думаете, какие задания вам предстоит выполнить?</a:t>
            </a:r>
          </a:p>
        </p:txBody>
      </p:sp>
    </p:spTree>
    <p:extLst>
      <p:ext uri="{BB962C8B-B14F-4D97-AF65-F5344CB8AC3E}">
        <p14:creationId xmlns:p14="http://schemas.microsoft.com/office/powerpoint/2010/main" val="612273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40815" y="48542"/>
            <a:ext cx="47121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Задачи на креативное мышлени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53681" y="719114"/>
            <a:ext cx="5322499" cy="34505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ШАГ </a:t>
            </a:r>
            <a:r>
              <a:rPr lang="ru-RU" b="1" dirty="0" smtClean="0">
                <a:solidFill>
                  <a:srgbClr val="002060"/>
                </a:solidFill>
              </a:rPr>
              <a:t>2. </a:t>
            </a:r>
            <a:r>
              <a:rPr lang="ru-RU" dirty="0">
                <a:solidFill>
                  <a:srgbClr val="002060"/>
                </a:solidFill>
              </a:rPr>
              <a:t>Читаем, анализируем и выполняем задания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681" y="1153557"/>
            <a:ext cx="1209675" cy="42862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563356" y="1198810"/>
            <a:ext cx="104014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Запишите ниже три разные причины, которые могут потребовать изменения транспортных систем в будущем. Опишите коротко возможные изменения транспортных средств, дорог и источников энергии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9039" y="1872971"/>
            <a:ext cx="5562600" cy="78105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25266" y="2711061"/>
            <a:ext cx="1071014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</a:rPr>
              <a:t>Причина 1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</a:rPr>
              <a:t>: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Автомобильные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пробки</a:t>
            </a:r>
            <a:endParaRPr lang="ru-RU" sz="16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</a:rPr>
              <a:t>Возможное решение: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изобретение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летающих автомобилей, в воздухе транспорт не будет так</a:t>
            </a:r>
          </a:p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задерживаться, как на земле, вместо дорог будут специальные электронные разметки, обозначающие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пути передвижения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25265" y="3786331"/>
            <a:ext cx="107101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</a:rPr>
              <a:t>Причина 2: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Рост населения также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приводит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к уменьшению свободного места в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городах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.</a:t>
            </a:r>
            <a:endParaRPr lang="ru-RU" sz="16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</a:rPr>
              <a:t>Возможное решение: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строительство станций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метро и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развитие других видов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подземного транспорта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.</a:t>
            </a:r>
            <a:endParaRPr lang="ru-RU" sz="16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25264" y="4371106"/>
            <a:ext cx="107101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</a:rPr>
              <a:t>Причина 3: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Крупная застройка поменяет тип дорог.</a:t>
            </a:r>
            <a:endParaRPr lang="ru-RU" sz="16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</a:rPr>
              <a:t>Возможное решение: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переход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из однополосных и </a:t>
            </a:r>
            <a:r>
              <a:rPr lang="ru-RU" sz="1600" dirty="0" err="1">
                <a:solidFill>
                  <a:schemeClr val="accent5">
                    <a:lumMod val="50000"/>
                  </a:schemeClr>
                </a:solidFill>
              </a:rPr>
              <a:t>двухполосных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 на более многополосные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</a:rPr>
              <a:t>дороги.</a:t>
            </a:r>
            <a:endParaRPr lang="ru-RU" sz="160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73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40815" y="48542"/>
            <a:ext cx="47121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Задачи на креативное мышлени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53681" y="719114"/>
            <a:ext cx="5322499" cy="34505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ШАГ </a:t>
            </a:r>
            <a:r>
              <a:rPr lang="ru-RU" b="1" dirty="0" smtClean="0">
                <a:solidFill>
                  <a:srgbClr val="002060"/>
                </a:solidFill>
              </a:rPr>
              <a:t>2. </a:t>
            </a:r>
            <a:r>
              <a:rPr lang="ru-RU" dirty="0">
                <a:solidFill>
                  <a:srgbClr val="002060"/>
                </a:solidFill>
              </a:rPr>
              <a:t>Читаем, анализируем и выполняем задания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625" y="1135669"/>
            <a:ext cx="1247775" cy="428625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65848" y="1225740"/>
            <a:ext cx="106663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5">
                    <a:lumMod val="50000"/>
                  </a:schemeClr>
                </a:solidFill>
              </a:rPr>
              <a:t>Познакомьтесь с некоторыми перспективными разработками, </a:t>
            </a: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</a:rPr>
              <a:t>которые ведутся 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</a:rPr>
              <a:t>в различных центрах мира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681" y="1635792"/>
            <a:ext cx="5415377" cy="382699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96994" y="1635792"/>
            <a:ext cx="5740061" cy="3316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21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40815" y="48542"/>
            <a:ext cx="47121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Задачи на креативное мышлени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53681" y="719114"/>
            <a:ext cx="5322499" cy="34505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ШАГ </a:t>
            </a:r>
            <a:r>
              <a:rPr lang="ru-RU" b="1" dirty="0" smtClean="0">
                <a:solidFill>
                  <a:srgbClr val="002060"/>
                </a:solidFill>
              </a:rPr>
              <a:t>2. </a:t>
            </a:r>
            <a:r>
              <a:rPr lang="ru-RU" dirty="0">
                <a:solidFill>
                  <a:srgbClr val="002060"/>
                </a:solidFill>
              </a:rPr>
              <a:t>Читаем, анализируем и выполняем задания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625" y="1135669"/>
            <a:ext cx="1247775" cy="428625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65848" y="1225740"/>
            <a:ext cx="106663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5">
                    <a:lumMod val="50000"/>
                  </a:schemeClr>
                </a:solidFill>
              </a:rPr>
              <a:t>Познакомьтесь с некоторыми перспективными разработками, </a:t>
            </a: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</a:rPr>
              <a:t>которые ведутся 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</a:rPr>
              <a:t>в различных центрах мира.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681" y="1725862"/>
            <a:ext cx="5173275" cy="381329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2949" y="1564294"/>
            <a:ext cx="4272740" cy="480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561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40697" y="6536602"/>
            <a:ext cx="388537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66620" y="58330"/>
            <a:ext cx="8156812" cy="8829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>
                <a:latin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Особенности заданий для формирования и 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оценки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функциональной грамотности</a:t>
            </a: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/>
          </p:nvPr>
        </p:nvGraphicFramePr>
        <p:xfrm>
          <a:off x="568036" y="1142847"/>
          <a:ext cx="11293764" cy="5245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60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377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8510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ОСОБЕННОСТЬ</a:t>
                      </a:r>
                      <a:r>
                        <a:rPr lang="ru-RU" sz="2000" baseline="0" dirty="0" smtClean="0"/>
                        <a:t> ЗАДАНИЙ</a:t>
                      </a:r>
                      <a:endParaRPr lang="ru-RU" sz="2000" dirty="0"/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ОБЩЕЕ/ОСОБОЕ</a:t>
                      </a:r>
                      <a:endParaRPr lang="ru-RU" sz="2000" dirty="0"/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75330">
                <a:tc>
                  <a:txBody>
                    <a:bodyPr/>
                    <a:lstStyle/>
                    <a:p>
                      <a:pPr marL="36000" indent="-36000" algn="l" defTabSz="22860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 sz="4900" b="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lang="ru-RU" sz="2000" b="1" dirty="0" smtClean="0">
                          <a:solidFill>
                            <a:srgbClr val="002060"/>
                          </a:solidFill>
                          <a:ea typeface="Arial"/>
                          <a:cs typeface="Arial"/>
                          <a:sym typeface="Arial"/>
                        </a:rPr>
                        <a:t>Комплексность</a:t>
                      </a:r>
                      <a:r>
                        <a:rPr lang="ru-RU" sz="2000" dirty="0" smtClean="0">
                          <a:solidFill>
                            <a:srgbClr val="002060"/>
                          </a:solidFill>
                          <a:ea typeface="Arial"/>
                          <a:cs typeface="Arial"/>
                          <a:sym typeface="Arial"/>
                        </a:rPr>
                        <a:t>:</a:t>
                      </a:r>
                    </a:p>
                    <a:p>
                      <a:pPr marL="637200" lvl="4" indent="-180000" algn="l" defTabSz="22860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 sz="4900" b="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a typeface="Arial"/>
                          <a:cs typeface="Arial"/>
                          <a:sym typeface="Arial"/>
                        </a:rPr>
                        <a:t>мотивационная часть</a:t>
                      </a:r>
                    </a:p>
                    <a:p>
                      <a:pPr marL="637200" lvl="4" indent="-180000" algn="l" defTabSz="22860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 sz="4900" b="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a typeface="Arial"/>
                          <a:cs typeface="Arial"/>
                          <a:sym typeface="Arial"/>
                        </a:rPr>
                        <a:t>задания на оценку различных компетентностей</a:t>
                      </a:r>
                      <a:endParaRPr lang="ru-RU" sz="2000" dirty="0">
                        <a:solidFill>
                          <a:srgbClr val="002060"/>
                        </a:solidFill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Общее для всех заданий на оценку </a:t>
                      </a:r>
                      <a:r>
                        <a:rPr lang="ru-RU" sz="2000" b="0" kern="1200" dirty="0" err="1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сформированности</a:t>
                      </a: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 функциональной грамотности</a:t>
                      </a:r>
                      <a:endParaRPr lang="ru-RU" sz="2000" b="0" kern="120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182880" marR="182880" marT="91440" marB="9144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1001">
                <a:tc>
                  <a:txBody>
                    <a:bodyPr/>
                    <a:lstStyle/>
                    <a:p>
                      <a:pPr marL="36000" indent="-360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2000" b="1" kern="1200" dirty="0" err="1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Проблемность</a:t>
                      </a:r>
                      <a:r>
                        <a:rPr lang="ru-RU" sz="2000" b="1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и </a:t>
                      </a:r>
                      <a:r>
                        <a:rPr lang="ru-RU" sz="2000" b="1" kern="1200" dirty="0" err="1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внеучебный</a:t>
                      </a:r>
                      <a:r>
                        <a:rPr lang="ru-RU" sz="2000" b="1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контекст</a:t>
                      </a:r>
                      <a:endParaRPr lang="ru-RU" sz="2000" b="1" kern="120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Общее для всех заданий на функциональную грамотность</a:t>
                      </a:r>
                    </a:p>
                  </a:txBody>
                  <a:tcPr marL="182880" marR="182880" marT="91440" marB="9144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1001">
                <a:tc>
                  <a:txBody>
                    <a:bodyPr/>
                    <a:lstStyle/>
                    <a:p>
                      <a:pPr marL="36000" indent="-360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2000" b="1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Неопределённость</a:t>
                      </a: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в  способах действий</a:t>
                      </a:r>
                      <a:endParaRPr lang="ru-RU" sz="2000" b="0" kern="120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Общее для всех заданий на функциональную грамотность</a:t>
                      </a:r>
                      <a:endParaRPr lang="ru-RU" sz="2000" b="0" kern="120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182880" marR="182880" marT="91440" marB="9144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1001">
                <a:tc>
                  <a:txBody>
                    <a:bodyPr/>
                    <a:lstStyle/>
                    <a:p>
                      <a:pPr marL="36000" indent="-3600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Допустимость и необходимость </a:t>
                      </a:r>
                      <a:r>
                        <a:rPr lang="ru-RU" sz="2000" b="1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альтернативных решений</a:t>
                      </a:r>
                      <a:endParaRPr lang="ru-RU" sz="2000" b="1" kern="120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КМ – обязательно,</a:t>
                      </a:r>
                      <a:endParaRPr lang="en-US" sz="2000" b="0" kern="1200" dirty="0" smtClean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в других областях – возможно </a:t>
                      </a:r>
                      <a:endParaRPr lang="ru-RU" sz="2000" b="0" kern="120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182880" marR="182880" marT="91440" marB="9144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83288">
                <a:tc>
                  <a:txBody>
                    <a:bodyPr/>
                    <a:lstStyle/>
                    <a:p>
                      <a:pPr marL="36000" indent="-36000" algn="l" defTabSz="22860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 sz="4900" b="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Использование при оценке </a:t>
                      </a:r>
                      <a:r>
                        <a:rPr lang="ru-RU" sz="2000" b="1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критериев</a:t>
                      </a:r>
                    </a:p>
                    <a:p>
                      <a:pPr marL="493200" marR="0" lvl="1" indent="-36000" algn="l" defTabSz="2286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 sz="4900" b="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оригинальность</a:t>
                      </a:r>
                    </a:p>
                    <a:p>
                      <a:pPr marL="493200" marR="0" lvl="1" indent="-36000" algn="l" defTabSz="2286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 sz="4900" b="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разнообразие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ru-RU" sz="2000" b="0" kern="1200" dirty="0" smtClean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</a:rPr>
                        <a:t>Только в креативном мышлении</a:t>
                      </a:r>
                      <a:endParaRPr lang="ru-RU" sz="2000" b="0" kern="120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182880" marR="182880" marT="91440" marB="9144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6709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40815" y="48542"/>
            <a:ext cx="47121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Задачи на креативное мышлени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53681" y="719114"/>
            <a:ext cx="5322499" cy="34505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ШАГ </a:t>
            </a:r>
            <a:r>
              <a:rPr lang="ru-RU" b="1" dirty="0" smtClean="0">
                <a:solidFill>
                  <a:srgbClr val="002060"/>
                </a:solidFill>
              </a:rPr>
              <a:t>2. </a:t>
            </a:r>
            <a:r>
              <a:rPr lang="ru-RU" dirty="0">
                <a:solidFill>
                  <a:srgbClr val="002060"/>
                </a:solidFill>
              </a:rPr>
              <a:t>Читаем, анализируем и выполняем задания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625" y="1135669"/>
            <a:ext cx="1247775" cy="42862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377461" y="1174127"/>
            <a:ext cx="10202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Какой из проектов, на ваш взгляд, может оказаться наиболее интересным и востребованным у нас в России? Поясните свой выбор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53681" y="1748339"/>
            <a:ext cx="1085651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одсказка</a:t>
            </a:r>
          </a:p>
          <a:p>
            <a:r>
              <a:rPr lang="ru-RU" b="1" dirty="0" smtClean="0">
                <a:solidFill>
                  <a:srgbClr val="002060"/>
                </a:solidFill>
              </a:rPr>
              <a:t>Обязательно </a:t>
            </a:r>
            <a:r>
              <a:rPr lang="ru-RU" b="1" dirty="0">
                <a:solidFill>
                  <a:srgbClr val="002060"/>
                </a:solidFill>
              </a:rPr>
              <a:t>укажите:</a:t>
            </a:r>
          </a:p>
          <a:p>
            <a:pPr marL="342900" indent="-342900">
              <a:buAutoNum type="arabicParenR"/>
            </a:pPr>
            <a:r>
              <a:rPr lang="ru-RU" dirty="0" smtClean="0">
                <a:solidFill>
                  <a:srgbClr val="002060"/>
                </a:solidFill>
              </a:rPr>
              <a:t>будет </a:t>
            </a:r>
            <a:r>
              <a:rPr lang="ru-RU" dirty="0">
                <a:solidFill>
                  <a:srgbClr val="002060"/>
                </a:solidFill>
              </a:rPr>
              <a:t>ли пользоваться это транспортное средство широким </a:t>
            </a:r>
            <a:r>
              <a:rPr lang="ru-RU" dirty="0" smtClean="0">
                <a:solidFill>
                  <a:srgbClr val="002060"/>
                </a:solidFill>
              </a:rPr>
              <a:t>спросом, какие </a:t>
            </a:r>
            <a:r>
              <a:rPr lang="ru-RU" dirty="0">
                <a:solidFill>
                  <a:srgbClr val="002060"/>
                </a:solidFill>
              </a:rPr>
              <a:t>существующие сегодня проблемы решит этот транспорт, много </a:t>
            </a:r>
            <a:r>
              <a:rPr lang="ru-RU" dirty="0" smtClean="0">
                <a:solidFill>
                  <a:srgbClr val="002060"/>
                </a:solidFill>
              </a:rPr>
              <a:t>ли людей </a:t>
            </a:r>
            <a:r>
              <a:rPr lang="ru-RU" dirty="0">
                <a:solidFill>
                  <a:srgbClr val="002060"/>
                </a:solidFill>
              </a:rPr>
              <a:t>захотят им воспользоваться, какая группа населения может проявить особый интерес к реализации этого проекта</a:t>
            </a:r>
            <a:r>
              <a:rPr lang="ru-RU" dirty="0" smtClean="0">
                <a:solidFill>
                  <a:srgbClr val="002060"/>
                </a:solidFill>
              </a:rPr>
              <a:t>;</a:t>
            </a:r>
          </a:p>
          <a:p>
            <a:pPr marL="342900" indent="-342900">
              <a:buAutoNum type="arabicParenR"/>
            </a:pPr>
            <a:r>
              <a:rPr lang="ru-RU" dirty="0">
                <a:solidFill>
                  <a:srgbClr val="002060"/>
                </a:solidFill>
              </a:rPr>
              <a:t>нужно ли создавать для этого транспорта особую </a:t>
            </a:r>
            <a:r>
              <a:rPr lang="ru-RU" dirty="0" smtClean="0">
                <a:solidFill>
                  <a:srgbClr val="002060"/>
                </a:solidFill>
              </a:rPr>
              <a:t>инфраструктуру (дороги</a:t>
            </a:r>
            <a:r>
              <a:rPr lang="ru-RU" dirty="0">
                <a:solidFill>
                  <a:srgbClr val="002060"/>
                </a:solidFill>
              </a:rPr>
              <a:t>, заправки, станции, навигационные и иные службы</a:t>
            </a:r>
            <a:r>
              <a:rPr lang="ru-RU" dirty="0" smtClean="0">
                <a:solidFill>
                  <a:srgbClr val="002060"/>
                </a:solidFill>
              </a:rPr>
              <a:t>);</a:t>
            </a:r>
          </a:p>
          <a:p>
            <a:pPr marL="342900" indent="-342900">
              <a:buAutoNum type="arabicParenR"/>
            </a:pPr>
            <a:r>
              <a:rPr lang="ru-RU" dirty="0">
                <a:solidFill>
                  <a:srgbClr val="002060"/>
                </a:solidFill>
              </a:rPr>
              <a:t>какой источник энергии будет у этого транспорта.</a:t>
            </a:r>
          </a:p>
        </p:txBody>
      </p:sp>
    </p:spTree>
    <p:extLst>
      <p:ext uri="{BB962C8B-B14F-4D97-AF65-F5344CB8AC3E}">
        <p14:creationId xmlns:p14="http://schemas.microsoft.com/office/powerpoint/2010/main" val="2601289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40815" y="48542"/>
            <a:ext cx="47121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Задачи на креативное мышлени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53681" y="719114"/>
            <a:ext cx="5322499" cy="34505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ШАГ </a:t>
            </a:r>
            <a:r>
              <a:rPr lang="ru-RU" b="1" dirty="0" smtClean="0">
                <a:solidFill>
                  <a:srgbClr val="002060"/>
                </a:solidFill>
              </a:rPr>
              <a:t>2. </a:t>
            </a:r>
            <a:r>
              <a:rPr lang="ru-RU" dirty="0">
                <a:solidFill>
                  <a:srgbClr val="002060"/>
                </a:solidFill>
              </a:rPr>
              <a:t>Читаем, анализируем и выполняем задания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625" y="1135669"/>
            <a:ext cx="1247775" cy="42862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377461" y="1174127"/>
            <a:ext cx="10202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Какой из проектов, на ваш взгляд, может оказаться наиболее интересным и востребованным у нас в России? Поясните свой выбор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53681" y="1728091"/>
            <a:ext cx="1076321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Пример ответа, который оценивается </a:t>
            </a:r>
            <a:r>
              <a:rPr lang="ru-RU" b="1" i="1" dirty="0" smtClean="0">
                <a:solidFill>
                  <a:srgbClr val="002060"/>
                </a:solidFill>
              </a:rPr>
              <a:t>2 баллами</a:t>
            </a:r>
            <a:r>
              <a:rPr lang="ru-RU" b="1" dirty="0" smtClean="0">
                <a:solidFill>
                  <a:srgbClr val="002060"/>
                </a:solidFill>
              </a:rPr>
              <a:t>:</a:t>
            </a:r>
          </a:p>
          <a:p>
            <a:r>
              <a:rPr lang="ru-RU" i="1" dirty="0" smtClean="0">
                <a:solidFill>
                  <a:srgbClr val="002060"/>
                </a:solidFill>
              </a:rPr>
              <a:t>Летающие </a:t>
            </a:r>
            <a:r>
              <a:rPr lang="ru-RU" i="1" dirty="0">
                <a:solidFill>
                  <a:srgbClr val="002060"/>
                </a:solidFill>
              </a:rPr>
              <a:t>автомобили. </a:t>
            </a:r>
            <a:endParaRPr lang="ru-RU" i="1" dirty="0" smtClean="0">
              <a:solidFill>
                <a:srgbClr val="002060"/>
              </a:solidFill>
            </a:endParaRPr>
          </a:p>
          <a:p>
            <a:r>
              <a:rPr lang="ru-RU" sz="1600" dirty="0">
                <a:solidFill>
                  <a:srgbClr val="002060"/>
                </a:solidFill>
              </a:rPr>
              <a:t>Людям в России не нравится стоять в пробках, следовательно, летающие автомобили будут прекрасной разгрузкой земных дорог, это </a:t>
            </a:r>
            <a:r>
              <a:rPr lang="ru-RU" sz="1600" dirty="0" smtClean="0">
                <a:solidFill>
                  <a:srgbClr val="002060"/>
                </a:solidFill>
              </a:rPr>
              <a:t>сократит рейсы </a:t>
            </a:r>
            <a:r>
              <a:rPr lang="ru-RU" sz="1600" dirty="0">
                <a:solidFill>
                  <a:srgbClr val="002060"/>
                </a:solidFill>
              </a:rPr>
              <a:t>с помощью самолётов. Люди смогут летать по собственной воле, куда хотят, не завися от времени. Необходимы особые заправки для таких автомобилей, а также</a:t>
            </a:r>
          </a:p>
          <a:p>
            <a:r>
              <a:rPr lang="ru-RU" sz="1600" dirty="0">
                <a:solidFill>
                  <a:srgbClr val="002060"/>
                </a:solidFill>
              </a:rPr>
              <a:t>и площадки для посадки. Источник топлива — электричество</a:t>
            </a:r>
            <a:r>
              <a:rPr lang="ru-RU" sz="1600" dirty="0" smtClean="0">
                <a:solidFill>
                  <a:srgbClr val="002060"/>
                </a:solidFill>
              </a:rPr>
              <a:t>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3681" y="3354207"/>
            <a:ext cx="1076321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Пример ответа, который оценивается </a:t>
            </a:r>
            <a:r>
              <a:rPr lang="ru-RU" b="1" i="1" dirty="0" smtClean="0">
                <a:solidFill>
                  <a:srgbClr val="002060"/>
                </a:solidFill>
              </a:rPr>
              <a:t>1 баллом</a:t>
            </a:r>
            <a:r>
              <a:rPr lang="ru-RU" b="1" dirty="0" smtClean="0">
                <a:solidFill>
                  <a:srgbClr val="002060"/>
                </a:solidFill>
              </a:rPr>
              <a:t>:</a:t>
            </a:r>
          </a:p>
          <a:p>
            <a:r>
              <a:rPr lang="ru-RU" i="1" dirty="0" smtClean="0">
                <a:solidFill>
                  <a:srgbClr val="002060"/>
                </a:solidFill>
              </a:rPr>
              <a:t>Летающие </a:t>
            </a:r>
            <a:r>
              <a:rPr lang="ru-RU" i="1" dirty="0">
                <a:solidFill>
                  <a:srgbClr val="002060"/>
                </a:solidFill>
              </a:rPr>
              <a:t>автомобили. </a:t>
            </a:r>
            <a:endParaRPr lang="ru-RU" i="1" dirty="0" smtClean="0">
              <a:solidFill>
                <a:srgbClr val="002060"/>
              </a:solidFill>
            </a:endParaRPr>
          </a:p>
          <a:p>
            <a:r>
              <a:rPr lang="ru-RU" sz="1600" dirty="0">
                <a:solidFill>
                  <a:srgbClr val="002060"/>
                </a:solidFill>
              </a:rPr>
              <a:t>Скоро у человечества </a:t>
            </a:r>
            <a:r>
              <a:rPr lang="ru-RU" sz="1600" dirty="0" smtClean="0">
                <a:solidFill>
                  <a:srgbClr val="002060"/>
                </a:solidFill>
              </a:rPr>
              <a:t>закончится место </a:t>
            </a:r>
            <a:r>
              <a:rPr lang="ru-RU" sz="1600" dirty="0">
                <a:solidFill>
                  <a:srgbClr val="002060"/>
                </a:solidFill>
              </a:rPr>
              <a:t>для дорог и ему придётся передвигаться по воздуху.</a:t>
            </a:r>
          </a:p>
          <a:p>
            <a:r>
              <a:rPr lang="ru-RU" sz="1600" dirty="0">
                <a:solidFill>
                  <a:srgbClr val="002060"/>
                </a:solidFill>
              </a:rPr>
              <a:t>Летающие автомобили будут пользоваться спросом у </a:t>
            </a:r>
            <a:r>
              <a:rPr lang="ru-RU" sz="1600" dirty="0" smtClean="0">
                <a:solidFill>
                  <a:srgbClr val="002060"/>
                </a:solidFill>
              </a:rPr>
              <a:t>тех, кто </a:t>
            </a:r>
            <a:r>
              <a:rPr lang="ru-RU" sz="1600" dirty="0">
                <a:solidFill>
                  <a:srgbClr val="002060"/>
                </a:solidFill>
              </a:rPr>
              <a:t>живёт далеко от работы. Можно не создавать отдельные дороги для них</a:t>
            </a:r>
            <a:r>
              <a:rPr lang="ru-RU" sz="1600" dirty="0" smtClean="0">
                <a:solidFill>
                  <a:srgbClr val="002060"/>
                </a:solidFill>
              </a:rPr>
              <a:t>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53680" y="4699339"/>
            <a:ext cx="1076321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Пример ответа, который оценивается </a:t>
            </a:r>
            <a:r>
              <a:rPr lang="ru-RU" b="1" i="1" dirty="0">
                <a:solidFill>
                  <a:srgbClr val="002060"/>
                </a:solidFill>
              </a:rPr>
              <a:t>0</a:t>
            </a:r>
            <a:r>
              <a:rPr lang="ru-RU" b="1" i="1" dirty="0" smtClean="0">
                <a:solidFill>
                  <a:srgbClr val="002060"/>
                </a:solidFill>
              </a:rPr>
              <a:t> баллами</a:t>
            </a:r>
            <a:r>
              <a:rPr lang="ru-RU" b="1" dirty="0" smtClean="0">
                <a:solidFill>
                  <a:srgbClr val="002060"/>
                </a:solidFill>
              </a:rPr>
              <a:t>:</a:t>
            </a:r>
          </a:p>
          <a:p>
            <a:r>
              <a:rPr lang="ru-RU" i="1" dirty="0" smtClean="0">
                <a:solidFill>
                  <a:srgbClr val="002060"/>
                </a:solidFill>
              </a:rPr>
              <a:t>Летающие </a:t>
            </a:r>
            <a:r>
              <a:rPr lang="ru-RU" i="1" dirty="0">
                <a:solidFill>
                  <a:srgbClr val="002060"/>
                </a:solidFill>
              </a:rPr>
              <a:t>автомобили. </a:t>
            </a:r>
            <a:endParaRPr lang="ru-RU" i="1" dirty="0" smtClean="0">
              <a:solidFill>
                <a:srgbClr val="002060"/>
              </a:solidFill>
            </a:endParaRPr>
          </a:p>
          <a:p>
            <a:r>
              <a:rPr lang="ru-RU" sz="1600" dirty="0">
                <a:solidFill>
                  <a:srgbClr val="002060"/>
                </a:solidFill>
              </a:rPr>
              <a:t>Не будет пробок и аварий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705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58908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Где можно взять задания для оценки ЕНГ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3051" y="1029097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53355" y="1212463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227805" y="1029097"/>
            <a:ext cx="5967246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37873" y="1212463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315702" y="2330030"/>
            <a:ext cx="4664968" cy="2078518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4"/>
              </a:rPr>
              <a:t>Серия «Функциональная грамотность. Учимся для жизни (5-9)»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 (Выпуск 2 – Новинка 2021)</a:t>
            </a: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5"/>
              </a:rPr>
              <a:t>Серия «Функциональная грамотность. Тренажеры (5-9)»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6"/>
              </a:rPr>
              <a:t>Серия «ФГОС. Оценка образовательных достижений»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7" y="2239330"/>
            <a:ext cx="728841" cy="72884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" y="3119792"/>
            <a:ext cx="726248" cy="69804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9"/>
          <a:srcRect l="14692" t="20657" r="22083" b="16289"/>
          <a:stretch/>
        </p:blipFill>
        <p:spPr>
          <a:xfrm>
            <a:off x="109823" y="4024485"/>
            <a:ext cx="1057109" cy="478690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6595960" y="2316495"/>
            <a:ext cx="4673141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PISA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9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67186" y="3197697"/>
            <a:ext cx="4634242" cy="23171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Прямоугольник 19">
            <a:hlinkClick r:id="rId11"/>
          </p:cNvPr>
          <p:cNvSpPr/>
          <p:nvPr/>
        </p:nvSpPr>
        <p:spPr>
          <a:xfrm>
            <a:off x="8328248" y="5706436"/>
            <a:ext cx="1577436" cy="5869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крыть Банк заданий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15702" y="5236572"/>
            <a:ext cx="246328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"/>
              </a:rPr>
              <a:t>Узнать больш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"/>
              </a:rPr>
              <a:t>и купить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90147" y="5396081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http://qrcoder.ru/code/?https%3A%2F%2Fprosv.ru%2Fpages%2Fpisa.html&amp;4&amp;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238" y="4979299"/>
            <a:ext cx="972000" cy="9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24192" y="5949280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1587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895323" y="1085439"/>
            <a:ext cx="4709664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под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97715" y="1853863"/>
            <a:ext cx="5376222" cy="4448397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редназначены для формирования и оценки все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направлени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функционально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грамотности международного сравнительного исследования PISA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Содержат обучающие и тренировочные задания, охватывающие все содержательные 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компетентностны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ситуаци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грамотности.</a:t>
            </a:r>
          </a:p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Готовится второй выпуск (март 2021 г.)</a:t>
            </a:r>
          </a:p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88" y="1234141"/>
            <a:ext cx="1606191" cy="217650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736" y="1190172"/>
            <a:ext cx="1602880" cy="216603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916" y="1339215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779828" y="216591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 Ligh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032" y="1237024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44" y="4007559"/>
            <a:ext cx="1587500" cy="20955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7466" y="4109750"/>
            <a:ext cx="1682115" cy="221996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65" y="4018480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327" y="4079586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5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9567" y="5356173"/>
            <a:ext cx="1090816" cy="109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48015" y="6113319"/>
            <a:ext cx="25717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2"/>
              </a:rPr>
              <a:t>https://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2"/>
              </a:rPr>
              <a:t>prosv.ru/pages/pisa.html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7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67582" y="6101555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7942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ФУНКЦИОНАЛЬНАЯ ГРАМОТНОСТЬ.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ТРЕНАЖЁ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 Light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779828" y="219200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" pitchFamily="34" charset="0"/>
                <a:cs typeface="Open Sans Condensed" pitchFamily="34" charset="0"/>
              </a:rPr>
              <a:t>«ФУНКЦИОНАЛЬНАЯ ГРАМОТНОСТЬ. ТРЕНАЖЁРЫ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 Ligh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4876" y="2135846"/>
            <a:ext cx="5241524" cy="3206455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деятельност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ответы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образова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80329" y="1313530"/>
            <a:ext cx="5783653" cy="5036581"/>
            <a:chOff x="6314066" y="1335792"/>
            <a:chExt cx="5400141" cy="47026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692" y="3757717"/>
              <a:ext cx="1716291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36" t="16157" r="1798" b="8646"/>
            <a:stretch/>
          </p:blipFill>
          <p:spPr bwMode="auto">
            <a:xfrm>
              <a:off x="6314066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8" t="16909" r="1975" b="9232"/>
            <a:stretch/>
          </p:blipFill>
          <p:spPr bwMode="auto">
            <a:xfrm>
              <a:off x="6314066" y="3757717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6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95" t="16238" r="2007" b="8767"/>
            <a:stretch/>
          </p:blipFill>
          <p:spPr bwMode="auto">
            <a:xfrm>
              <a:off x="8157640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1213" y="1335792"/>
              <a:ext cx="1712994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7916" y="3757717"/>
              <a:ext cx="1716291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87" descr="http://qrcoder.ru/code/?https%3A%2F%2Fshop.prosv.ru%2Fsearch%3Fq%3D%25D1%2582%25D1%2580%25D0%25B5%25D0%25BD%25D0%25B0%25D0%25B6%23%2Forderby%3D1%26q%3D%25D1%2582%25D1%2580%25D0%25B5%25D0%25BD%25D0%25B0%25D0%25B6%26sFilters%3D21%2156334%3B13%2167611%3B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159" y="5326921"/>
            <a:ext cx="1084736" cy="10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650366" y="6069280"/>
            <a:ext cx="25717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/>
              </a:rPr>
              <a:t>https://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/>
              </a:rPr>
              <a:t>prosv.ru/pages/pisa.html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7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625" y="6018302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5941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027376" y="1027528"/>
            <a:ext cx="4164623" cy="5512403"/>
          </a:xfrm>
          <a:prstGeom prst="rect">
            <a:avLst/>
          </a:prstGeom>
          <a:solidFill>
            <a:srgbClr val="C7E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785426" y="58547"/>
            <a:ext cx="100293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-2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 Light" pitchFamily="34" charset="0"/>
                <a:cs typeface="Open Sans Condensed Light" pitchFamily="34" charset="0"/>
              </a:rPr>
              <a:t>Электронный Банк заданий по функциональной грамотност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-2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 Light" pitchFamily="34" charset="0"/>
                <a:cs typeface="Open Sans Condensed Light" pitchFamily="34" charset="0"/>
              </a:rPr>
              <a:t>Удобно</a:t>
            </a:r>
            <a:r>
              <a:rPr kumimoji="0" lang="ru-RU" sz="2000" b="1" i="0" u="none" strike="noStrike" kern="1200" cap="none" spc="-2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 Light" pitchFamily="34" charset="0"/>
                <a:cs typeface="Open Sans Condensed Light" pitchFamily="34" charset="0"/>
              </a:rPr>
              <a:t>, доступно, эффективно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 Ligh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" name="Picture 9">
            <a:extLst>
              <a:ext uri="{FF2B5EF4-FFF2-40B4-BE49-F238E27FC236}">
                <a16:creationId xmlns:a16="http://schemas.microsoft.com/office/drawing/2014/main" id="{68B4845D-D2BD-B34E-90D8-94F11BE924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327" t="22060" r="31655" b="20078"/>
          <a:stretch/>
        </p:blipFill>
        <p:spPr>
          <a:xfrm>
            <a:off x="4607748" y="3753836"/>
            <a:ext cx="3328847" cy="2076386"/>
          </a:xfrm>
          <a:prstGeom prst="rect">
            <a:avLst/>
          </a:prstGeom>
        </p:spPr>
      </p:pic>
      <p:sp>
        <p:nvSpPr>
          <p:cNvPr id="28" name="Rectangle 2">
            <a:extLst>
              <a:ext uri="{FF2B5EF4-FFF2-40B4-BE49-F238E27FC236}">
                <a16:creationId xmlns:a16="http://schemas.microsoft.com/office/drawing/2014/main" id="{BA1D0698-6840-AD48-96F0-9DAEB9C081D7}"/>
              </a:ext>
            </a:extLst>
          </p:cNvPr>
          <p:cNvSpPr/>
          <p:nvPr/>
        </p:nvSpPr>
        <p:spPr>
          <a:xfrm>
            <a:off x="350740" y="1142357"/>
            <a:ext cx="74378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ния на формирование функциональной грамотност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учеников 1-9 классов от авторов, занимающихся программой оценки 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E38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SA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E38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E384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2F609259-BF26-B544-9593-0F151359E57C}"/>
              </a:ext>
            </a:extLst>
          </p:cNvPr>
          <p:cNvSpPr/>
          <p:nvPr/>
        </p:nvSpPr>
        <p:spPr>
          <a:xfrm>
            <a:off x="8906611" y="1538707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ждое задание представлено в виде ситуации с 3 уровням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ложности</a:t>
            </a:r>
            <a:endParaRPr kumimoji="0" lang="x-non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906611" y="3507415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нико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-4 классо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–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правлены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отработку метапредметны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вык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6">
            <a:extLst>
              <a:ext uri="{FF2B5EF4-FFF2-40B4-BE49-F238E27FC236}">
                <a16:creationId xmlns:a16="http://schemas.microsoft.com/office/drawing/2014/main" id="{0EC3C284-5A70-6E41-9350-128CD9A3BA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171680" y="1594042"/>
            <a:ext cx="648642" cy="648642"/>
          </a:xfrm>
          <a:prstGeom prst="rect">
            <a:avLst/>
          </a:prstGeom>
          <a:solidFill>
            <a:srgbClr val="C7E8FE"/>
          </a:solidFill>
        </p:spPr>
      </p:pic>
      <p:pic>
        <p:nvPicPr>
          <p:cNvPr id="33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797" y="3718977"/>
            <a:ext cx="4152772" cy="2076386"/>
          </a:xfrm>
          <a:prstGeom prst="rect">
            <a:avLst/>
          </a:prstGeom>
        </p:spPr>
      </p:pic>
      <p:sp>
        <p:nvSpPr>
          <p:cNvPr id="35" name="Rectangle 2">
            <a:extLst>
              <a:ext uri="{FF2B5EF4-FFF2-40B4-BE49-F238E27FC236}">
                <a16:creationId xmlns:a16="http://schemas.microsoft.com/office/drawing/2014/main" id="{BA1D0698-6840-AD48-96F0-9DAEB9C081D7}"/>
              </a:ext>
            </a:extLst>
          </p:cNvPr>
          <p:cNvSpPr/>
          <p:nvPr/>
        </p:nvSpPr>
        <p:spPr>
          <a:xfrm>
            <a:off x="350740" y="2107380"/>
            <a:ext cx="7255206" cy="1105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Более 500 заданий заданий, банк постоянно пополняется.</a:t>
            </a: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Охватывает все основные предметы школьной программы.</a:t>
            </a: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олнофункциональны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ренажер, который имитирует задания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SA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107689" y="1142815"/>
            <a:ext cx="30235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ния: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906611" y="4599491"/>
            <a:ext cx="302351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нико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-9 классо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правлены на развитие:</a:t>
            </a:r>
          </a:p>
          <a:p>
            <a:pPr marL="319088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читательской грамотности;</a:t>
            </a:r>
          </a:p>
          <a:p>
            <a:pPr marL="319088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атематической грамотности;</a:t>
            </a:r>
          </a:p>
          <a:p>
            <a:pPr marL="319088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стественнонаучной грамотности;</a:t>
            </a:r>
          </a:p>
          <a:p>
            <a:pPr marL="319088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реативного мышления.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2F609259-BF26-B544-9593-0F151359E57C}"/>
              </a:ext>
            </a:extLst>
          </p:cNvPr>
          <p:cNvSpPr/>
          <p:nvPr/>
        </p:nvSpPr>
        <p:spPr>
          <a:xfrm>
            <a:off x="8906611" y="2630783"/>
            <a:ext cx="30235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зработан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 10 различных типов и формато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ний</a:t>
            </a:r>
            <a:endParaRPr kumimoji="0" lang="x-non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8499" y="2581320"/>
            <a:ext cx="695004" cy="64623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72885" y="3577507"/>
            <a:ext cx="646232" cy="6462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72885" y="4648453"/>
            <a:ext cx="646232" cy="646232"/>
          </a:xfrm>
          <a:prstGeom prst="rect">
            <a:avLst/>
          </a:prstGeom>
        </p:spPr>
      </p:pic>
      <p:sp>
        <p:nvSpPr>
          <p:cNvPr id="3" name="Прямоугольник 2">
            <a:hlinkClick r:id="rId10"/>
          </p:cNvPr>
          <p:cNvSpPr/>
          <p:nvPr/>
        </p:nvSpPr>
        <p:spPr>
          <a:xfrm>
            <a:off x="786728" y="5895149"/>
            <a:ext cx="3312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1"/>
              </a:rPr>
              <a:t>Узнать больше о Банке задани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66033" y="5942717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3848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9493058" y="1677982"/>
            <a:ext cx="2459970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  <a:hlinkClick r:id="rId3"/>
              </a:rPr>
              <a:t>https://uchitel.club/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t="4558"/>
          <a:stretch/>
        </p:blipFill>
        <p:spPr>
          <a:xfrm>
            <a:off x="295718" y="1011115"/>
            <a:ext cx="8637878" cy="495690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796537" y="183750"/>
            <a:ext cx="969707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Просвещение. Поддержк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098889" y="3650701"/>
            <a:ext cx="385413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ртал, н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торо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собраны материалы в  помощь учителям и родителям для орга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учения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нсульт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ри выполнении домашних заданий в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видеоформат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 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мен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лучшими практиками, их апробация и распространение в сотрудничестве с органами управлени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разованием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2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29038" y="1771118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62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6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4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6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2" y="203634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3" y="203634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8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1" y="202455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3" y="1436758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4" y="1436758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2" y="1436758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8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4" y="1436758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4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1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4" y="560565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2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3" y="1819703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7" name="Группа 96"/>
          <p:cNvGrpSpPr/>
          <p:nvPr/>
        </p:nvGrpSpPr>
        <p:grpSpPr>
          <a:xfrm>
            <a:off x="9501353" y="538286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6" y="509540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3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7" y="538052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9" y="524546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9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6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9" y="532049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9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5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kumimoji="0" lang="en-US" sz="933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kumimoji="0" lang="ru-RU" sz="933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5151944" y="5204511"/>
            <a:ext cx="619475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kumimoji="0" lang="ru-RU" sz="1200" b="0" i="0" u="none" strike="noStrike" kern="1200" cap="none" spc="-4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2192" name="Picture 32" descr="http://qrcoder.ru/code/?https%3A%2F%2Fshop.prosv.ru%2F&amp;8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522" y="5218019"/>
            <a:ext cx="1105175" cy="110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178771" y="193727"/>
            <a:ext cx="11937029" cy="2519692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186184" y="1602461"/>
            <a:ext cx="11819633" cy="1745682"/>
          </a:xfrm>
          <a:prstGeom prst="rect">
            <a:avLst/>
          </a:prstGeom>
          <a:solidFill>
            <a:srgbClr val="2D2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15080" y="1691927"/>
            <a:ext cx="9870332" cy="1559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Хотите купить?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Оптовые закупк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отдел по работе с государственными заказам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тел.: +7 (495) 789-30-40, доб. 41-44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e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-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mail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</a:t>
            </a:r>
            <a:r>
              <a: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GTrofimova@prosv.ru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,  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Розниц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самостоятельно заказать в нашем интернет-магазине shop.prosv.ru </a:t>
            </a:r>
          </a:p>
        </p:txBody>
      </p:sp>
      <p:sp>
        <p:nvSpPr>
          <p:cNvPr id="52" name="Заголовок 1"/>
          <p:cNvSpPr txBox="1">
            <a:spLocks/>
          </p:cNvSpPr>
          <p:nvPr/>
        </p:nvSpPr>
        <p:spPr>
          <a:xfrm>
            <a:off x="-76200" y="492870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  <a:t>СПАСИБО ЗА ВНИМАНИЕ!</a:t>
            </a:r>
            <a:b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  <a:t/>
            </a:r>
            <a:b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kumimoji="0" lang="ru-RU" sz="3200" b="1" i="0" u="none" strike="noStrike" kern="1200" cap="none" spc="-40" normalizeH="0" baseline="0" noProof="0" dirty="0">
              <a:ln>
                <a:noFill/>
              </a:ln>
              <a:solidFill>
                <a:srgbClr val="2A3393"/>
              </a:solidFill>
              <a:effectLst/>
              <a:uLnTx/>
              <a:uFillTx/>
              <a:latin typeface="Calibri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879817" y="3485016"/>
            <a:ext cx="493385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дел методической поддержки педагогов и О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едущий методист по физик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твинов Олег Андреевич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ел. 8-977-992-42-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-mail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/>
              </a:rPr>
              <a:t>OLitvinov@prosv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’s app: 8-963-976-10-01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agram: @oleg_628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609" y="3961724"/>
            <a:ext cx="194745" cy="19474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5716" y="4169951"/>
            <a:ext cx="245576" cy="28778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7893" y="4600072"/>
            <a:ext cx="241221" cy="24091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185" y="4398410"/>
            <a:ext cx="206383" cy="20638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013" y="3485016"/>
            <a:ext cx="1350150" cy="2400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252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40697" y="6536602"/>
            <a:ext cx="388537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66620" y="58330"/>
            <a:ext cx="8156812" cy="8829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>
                <a:latin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ример задания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академическая и функциональная грамотност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4" name="TextBox 6"/>
          <p:cNvSpPr txBox="1">
            <a:spLocks noChangeArrowheads="1"/>
          </p:cNvSpPr>
          <p:nvPr/>
        </p:nvSpPr>
        <p:spPr bwMode="auto">
          <a:xfrm>
            <a:off x="326435" y="2282660"/>
            <a:ext cx="2834200" cy="461665"/>
          </a:xfrm>
          <a:prstGeom prst="rect">
            <a:avLst/>
          </a:prstGeom>
          <a:gradFill>
            <a:gsLst>
              <a:gs pos="100000">
                <a:srgbClr val="2A3393"/>
              </a:gs>
              <a:gs pos="0">
                <a:srgbClr val="00B0F0"/>
              </a:gs>
            </a:gsLst>
            <a:path path="circle">
              <a:fillToRect l="100000" t="100000"/>
            </a:path>
          </a:gradFill>
          <a:ln w="9525">
            <a:noFill/>
            <a:miter lim="800000"/>
            <a:headEnd/>
            <a:tailEnd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) 5 х 4 = ?</a:t>
            </a:r>
          </a:p>
        </p:txBody>
      </p:sp>
      <p:sp>
        <p:nvSpPr>
          <p:cNvPr id="25" name="TextBox 35"/>
          <p:cNvSpPr txBox="1">
            <a:spLocks noChangeArrowheads="1"/>
          </p:cNvSpPr>
          <p:nvPr/>
        </p:nvSpPr>
        <p:spPr bwMode="auto">
          <a:xfrm>
            <a:off x="307974" y="2966134"/>
            <a:ext cx="8449054" cy="683264"/>
          </a:xfrm>
          <a:prstGeom prst="rect">
            <a:avLst/>
          </a:prstGeom>
          <a:gradFill flip="none" rotWithShape="1">
            <a:gsLst>
              <a:gs pos="100000">
                <a:srgbClr val="2A3393"/>
              </a:gs>
              <a:gs pos="0">
                <a:srgbClr val="00B0F0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) В КОРОБКЕ 5 РЯДОВ ПО 4 КОНФЕТЫ В КАЖДОМ. СКОЛЬКО ВСЕГО КОНФЕТ В КОРОБКЕ?</a:t>
            </a:r>
          </a:p>
        </p:txBody>
      </p:sp>
      <p:sp>
        <p:nvSpPr>
          <p:cNvPr id="26" name="TextBox 39"/>
          <p:cNvSpPr txBox="1">
            <a:spLocks noChangeArrowheads="1"/>
          </p:cNvSpPr>
          <p:nvPr/>
        </p:nvSpPr>
        <p:spPr bwMode="auto">
          <a:xfrm>
            <a:off x="307975" y="3790950"/>
            <a:ext cx="8429625" cy="1274763"/>
          </a:xfrm>
          <a:prstGeom prst="rect">
            <a:avLst/>
          </a:prstGeom>
          <a:gradFill rotWithShape="1">
            <a:gsLst>
              <a:gs pos="0">
                <a:srgbClr val="FFC000"/>
              </a:gs>
              <a:gs pos="100000">
                <a:srgbClr val="C00000"/>
              </a:gs>
            </a:gsLst>
            <a:path path="rect">
              <a:fillToRect l="100000" t="10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) У МЕНЯ ЗАВТРА ДЕНЬ РОЖДЕНИЯ, БУДЕТ 15 ЧЕЛОВЕК. ХВАТИТ ЛИ ОДНОЙ КОРОБКИ КОНФЕТ, ЕСЛИ В НЕЙ 5 РЯДОВ ПО 4 КОНФЕТЫ В КАЖДОМ? ПОЯСНИТЕ СВОЙ ОТВЕТ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434303" y="2258002"/>
            <a:ext cx="1914948" cy="707886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100000">
                      <a:srgbClr val="2A3393"/>
                    </a:gs>
                    <a:gs pos="0">
                      <a:srgbClr val="00B0F0"/>
                    </a:gs>
                  </a:gsLst>
                  <a:path path="circle">
                    <a:fillToRect l="100000" t="100000"/>
                  </a:path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≈ 95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9380373" y="3143590"/>
            <a:ext cx="2158032" cy="830997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100000">
                      <a:srgbClr val="00B0F0"/>
                    </a:gs>
                    <a:gs pos="13000">
                      <a:srgbClr val="2A3393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≈ 85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9343862" y="4130106"/>
            <a:ext cx="2444521" cy="1015663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FFC000"/>
                    </a:gs>
                    <a:gs pos="0">
                      <a:srgbClr val="C00000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≈ </a:t>
            </a:r>
            <a:r>
              <a:rPr kumimoji="0" lang="ru-RU" sz="54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100000">
                      <a:srgbClr val="FFC000"/>
                    </a:gs>
                    <a:gs pos="13000">
                      <a:srgbClr val="C00000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0</a:t>
            </a:r>
            <a:r>
              <a:rPr kumimoji="0" lang="ru-RU" sz="60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FFC000"/>
                    </a:gs>
                    <a:gs pos="0">
                      <a:srgbClr val="C00000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%</a:t>
            </a:r>
          </a:p>
        </p:txBody>
      </p:sp>
      <p:grpSp>
        <p:nvGrpSpPr>
          <p:cNvPr id="33" name="Группа 16"/>
          <p:cNvGrpSpPr>
            <a:grpSpLocks/>
          </p:cNvGrpSpPr>
          <p:nvPr/>
        </p:nvGrpSpPr>
        <p:grpSpPr bwMode="auto">
          <a:xfrm>
            <a:off x="6931025" y="1763713"/>
            <a:ext cx="1012825" cy="1030287"/>
            <a:chOff x="3272358" y="2044700"/>
            <a:chExt cx="2974963" cy="3325556"/>
          </a:xfrm>
        </p:grpSpPr>
        <p:pic>
          <p:nvPicPr>
            <p:cNvPr id="34" name="Рисунок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4" y="2044700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Рисунок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6259" y="2044700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Рисунок 1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8790" y="2044700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Рисунок 2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1321" y="2044700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Рисунок 2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2358" y="2748576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Рисунок 2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7653" y="2748576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Рисунок 2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0184" y="2748576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Рисунок 2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2715" y="2748576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Рисунок 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2358" y="3415011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Рисунок 2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7653" y="3415011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Рисунок 2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0184" y="3415011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Рисунок 2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2715" y="3415011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Рисунок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2358" y="4046325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Рисунок 3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7653" y="4046325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4" name="Рисунок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0184" y="4046325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" name="Рисунок 3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2715" y="4046325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Рисунок 3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2358" y="4794256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7" name="Рисунок 3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7653" y="4794256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Рисунок 3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0184" y="4794256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" name="Рисунок 3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2715" y="4794256"/>
              <a:ext cx="576000" cy="57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0" name="Рисунок 3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0" y="919163"/>
            <a:ext cx="1208088" cy="191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TextBox 39"/>
          <p:cNvSpPr txBox="1">
            <a:spLocks noChangeArrowheads="1"/>
          </p:cNvSpPr>
          <p:nvPr/>
        </p:nvSpPr>
        <p:spPr bwMode="auto">
          <a:xfrm>
            <a:off x="327025" y="5207000"/>
            <a:ext cx="8429625" cy="1223963"/>
          </a:xfrm>
          <a:prstGeom prst="rect">
            <a:avLst/>
          </a:prstGeom>
          <a:gradFill rotWithShape="1">
            <a:gsLst>
              <a:gs pos="0">
                <a:srgbClr val="FFC000"/>
              </a:gs>
              <a:gs pos="100000">
                <a:srgbClr val="C00000"/>
              </a:gs>
            </a:gsLst>
            <a:path path="rect">
              <a:fillToRect l="100000" t="10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4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1" sz="1200">
                <a:solidFill>
                  <a:srgbClr val="955E4B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У МЕНЯ ЗАВТРА ДЕНЬ РОЖДЕНИЯ, БУДЕТ 15 ЧЕЛОВЕК. ХВАТИТ ЛИ ОДНОЙ КОРОБКИ КОНФЕТ? ПОЯСНИТЕ СВОЙ ОТВЕТ  </a:t>
            </a:r>
            <a:r>
              <a:rPr kumimoji="0" lang="ru-RU" altLang="ru-RU" sz="20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дан рисунок с витриной  конфет, с которого можно считать ответ)</a:t>
            </a:r>
            <a:endParaRPr kumimoji="0" lang="ru-RU" altLang="ru-RU" sz="2400" b="1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9306862" y="5302168"/>
            <a:ext cx="2587896" cy="1015663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FFC000"/>
                    </a:gs>
                    <a:gs pos="0">
                      <a:srgbClr val="C00000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≈ 1</a:t>
            </a:r>
            <a:r>
              <a:rPr kumimoji="0" lang="ru-RU" sz="60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100000">
                      <a:srgbClr val="FFC000"/>
                    </a:gs>
                    <a:gs pos="13000">
                      <a:srgbClr val="C00000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</a:t>
            </a:r>
            <a:r>
              <a:rPr kumimoji="0" lang="ru-RU" sz="60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FFC000"/>
                    </a:gs>
                    <a:gs pos="0">
                      <a:srgbClr val="C00000"/>
                    </a:gs>
                  </a:gsLst>
                  <a:lin ang="2400000" scaled="0"/>
                </a:gra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858619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40697" y="6536602"/>
            <a:ext cx="388537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02626" y="74544"/>
            <a:ext cx="10521101" cy="8829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>
                <a:latin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роблемы формирования функциональной грамотности 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о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ониторинг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7D6C167-7B60-4FF5-BE0B-089A758559A2}"/>
              </a:ext>
            </a:extLst>
          </p:cNvPr>
          <p:cNvSpPr txBox="1"/>
          <p:nvPr/>
        </p:nvSpPr>
        <p:spPr>
          <a:xfrm>
            <a:off x="746332" y="1090757"/>
            <a:ext cx="10729649" cy="1292662"/>
          </a:xfrm>
          <a:prstGeom prst="rect">
            <a:avLst/>
          </a:prstGeom>
          <a:solidFill>
            <a:schemeClr val="bg2"/>
          </a:solidFill>
        </p:spPr>
        <p:txBody>
          <a:bodyPr wrap="square" lIns="182880" tIns="91440" rIns="182880" bIns="9144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и</a:t>
            </a:r>
            <a:r>
              <a:rPr kumimoji="0" lang="ru-RU" sz="24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уационность</a:t>
            </a:r>
            <a:r>
              <a:rPr kumimoji="0" lang="ru-RU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знаний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ru-RU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случае, если </a:t>
            </a:r>
            <a:r>
              <a:rPr kumimoji="0" lang="ru-RU" sz="2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нания </a:t>
            </a:r>
            <a:r>
              <a:rPr kumimoji="0" lang="ru-RU" sz="2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 осознаны </a:t>
            </a:r>
            <a:r>
              <a:rPr kumimoji="0" lang="ru-RU" sz="2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</a:t>
            </a:r>
            <a:r>
              <a:rPr kumimoji="0" lang="ru-RU" sz="2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 присвоены </a:t>
            </a:r>
            <a:r>
              <a:rPr kumimoji="0" lang="ru-RU" sz="2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ащимися, они проявляются только в тех ситуациях, в которых </a:t>
            </a:r>
            <a:r>
              <a:rPr kumimoji="0" lang="ru-RU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ормировались (К.Н. Поливанова)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7D6C167-7B60-4FF5-BE0B-089A758559A2}"/>
              </a:ext>
            </a:extLst>
          </p:cNvPr>
          <p:cNvSpPr txBox="1"/>
          <p:nvPr/>
        </p:nvSpPr>
        <p:spPr>
          <a:xfrm>
            <a:off x="906518" y="4941706"/>
            <a:ext cx="10729649" cy="1292662"/>
          </a:xfrm>
          <a:prstGeom prst="rect">
            <a:avLst/>
          </a:prstGeom>
          <a:solidFill>
            <a:schemeClr val="bg2"/>
          </a:solidFill>
        </p:spPr>
        <p:txBody>
          <a:bodyPr wrap="square" lIns="182880" tIns="91440" rIns="182880" bIns="9144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ормализма знаний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–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тарой проблемы российской и советской школы</a:t>
            </a:r>
            <a:r>
              <a:rPr kumimoji="0" lang="ru-RU" sz="2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ru-RU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нания </a:t>
            </a:r>
            <a:r>
              <a:rPr kumimoji="0" lang="ru-RU" sz="2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 учащихся есть, однако грамотно пользоваться ими они не </a:t>
            </a:r>
            <a:r>
              <a:rPr kumimoji="0" lang="ru-RU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меют. Учимся </a:t>
            </a:r>
            <a:r>
              <a:rPr kumimoji="0" lang="ru-RU" sz="2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школы, не для жизни</a:t>
            </a:r>
            <a:r>
              <a:rPr kumimoji="0" lang="ru-RU" sz="2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!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Freeform: Shape 2">
            <a:extLst/>
          </p:cNvPr>
          <p:cNvSpPr/>
          <p:nvPr/>
        </p:nvSpPr>
        <p:spPr>
          <a:xfrm>
            <a:off x="5410200" y="2395150"/>
            <a:ext cx="1598613" cy="1208087"/>
          </a:xfrm>
          <a:custGeom>
            <a:avLst/>
            <a:gdLst>
              <a:gd name="connsiteX0" fmla="*/ 0 w 1598807"/>
              <a:gd name="connsiteY0" fmla="*/ 0 h 1207370"/>
              <a:gd name="connsiteX1" fmla="*/ 1598807 w 1598807"/>
              <a:gd name="connsiteY1" fmla="*/ 0 h 1207370"/>
              <a:gd name="connsiteX2" fmla="*/ 802778 w 1598807"/>
              <a:gd name="connsiteY2" fmla="*/ 1207370 h 1207370"/>
              <a:gd name="connsiteX3" fmla="*/ 0 w 1598807"/>
              <a:gd name="connsiteY3" fmla="*/ 0 h 120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8807" h="1207370">
                <a:moveTo>
                  <a:pt x="0" y="0"/>
                </a:moveTo>
                <a:lnTo>
                  <a:pt x="1598807" y="0"/>
                </a:lnTo>
                <a:lnTo>
                  <a:pt x="802778" y="12073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Freeform: Shape 7">
            <a:extLst/>
          </p:cNvPr>
          <p:cNvSpPr/>
          <p:nvPr/>
        </p:nvSpPr>
        <p:spPr>
          <a:xfrm>
            <a:off x="5421313" y="3704837"/>
            <a:ext cx="1590675" cy="1201738"/>
          </a:xfrm>
          <a:custGeom>
            <a:avLst/>
            <a:gdLst>
              <a:gd name="connsiteX0" fmla="*/ 791924 w 1590562"/>
              <a:gd name="connsiteY0" fmla="*/ 0 h 1201143"/>
              <a:gd name="connsiteX1" fmla="*/ 1590562 w 1590562"/>
              <a:gd name="connsiteY1" fmla="*/ 1201143 h 1201143"/>
              <a:gd name="connsiteX2" fmla="*/ 0 w 1590562"/>
              <a:gd name="connsiteY2" fmla="*/ 1201143 h 1201143"/>
              <a:gd name="connsiteX3" fmla="*/ 791924 w 1590562"/>
              <a:gd name="connsiteY3" fmla="*/ 0 h 1201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0562" h="1201143">
                <a:moveTo>
                  <a:pt x="791924" y="0"/>
                </a:moveTo>
                <a:lnTo>
                  <a:pt x="1590562" y="1201143"/>
                </a:lnTo>
                <a:lnTo>
                  <a:pt x="0" y="1201143"/>
                </a:lnTo>
                <a:lnTo>
                  <a:pt x="79192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6506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871932" y="108504"/>
            <a:ext cx="27950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итуация «Качели»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7100" y="4966228"/>
            <a:ext cx="1125169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кажите,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что общего у изображённых предметов, 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зовите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щё три бытовых предмета с тем же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войством.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85036" y="5705340"/>
            <a:ext cx="5815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жалуйста напишите Ваши ответы в чат!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155" y="2924350"/>
            <a:ext cx="2473612" cy="15460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365" y="886001"/>
            <a:ext cx="3459193" cy="15460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959" y="2924760"/>
            <a:ext cx="2753277" cy="154871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448" y="2924351"/>
            <a:ext cx="2066048" cy="154953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993" y="886001"/>
            <a:ext cx="1888958" cy="154953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17" y="889116"/>
            <a:ext cx="2829962" cy="154994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96037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871932" y="108504"/>
            <a:ext cx="27950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итуация «Качели»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883" y="1993430"/>
            <a:ext cx="1521375" cy="95086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2600" y="882061"/>
            <a:ext cx="2061658" cy="92141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59" y="1993839"/>
            <a:ext cx="1665594" cy="93689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8698" y="1993430"/>
            <a:ext cx="1249740" cy="93730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815" y="882061"/>
            <a:ext cx="1123221" cy="92139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58" y="882061"/>
            <a:ext cx="1665594" cy="91223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221462" y="3158744"/>
            <a:ext cx="6096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актически вс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ветившие на данный вопрос восьмиклассники назвали общую для всех предметов физическую основу – рычаг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 эт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три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зных бытовых предмета называют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5%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 ни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дного предмета не смогли назва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0%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25529" y="882061"/>
            <a:ext cx="529391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авильный ответ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всех ситуаций – общая физическая основа: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ычаг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меры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ожницы, дверь, домкрат, кусачки, рычажные весы, мясорубка и т.д.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6058" y="2418834"/>
            <a:ext cx="1994510" cy="199451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8032" y="2406895"/>
            <a:ext cx="2006449" cy="200644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5404" y="2412724"/>
            <a:ext cx="1608746" cy="200062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86436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69</TotalTime>
  <Words>6026</Words>
  <Application>Microsoft Office PowerPoint</Application>
  <PresentationFormat>Широкоэкранный</PresentationFormat>
  <Paragraphs>834</Paragraphs>
  <Slides>57</Slides>
  <Notes>5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7</vt:i4>
      </vt:variant>
    </vt:vector>
  </HeadingPairs>
  <TitlesOfParts>
    <vt:vector size="75" baseType="lpstr">
      <vt:lpstr>Arial</vt:lpstr>
      <vt:lpstr>Calibri</vt:lpstr>
      <vt:lpstr>Calibri Light</vt:lpstr>
      <vt:lpstr>Cambria</vt:lpstr>
      <vt:lpstr>Cambria Math</vt:lpstr>
      <vt:lpstr>Franklin Gothic Book</vt:lpstr>
      <vt:lpstr>FuturaPT-Book</vt:lpstr>
      <vt:lpstr>Gilroy-Light</vt:lpstr>
      <vt:lpstr>Helvetica Light</vt:lpstr>
      <vt:lpstr>Open Sans</vt:lpstr>
      <vt:lpstr>Open Sans Condensed</vt:lpstr>
      <vt:lpstr>Open Sans Condensed Light</vt:lpstr>
      <vt:lpstr>Open Sans Light</vt:lpstr>
      <vt:lpstr>Times New Roman</vt:lpstr>
      <vt:lpstr>Wingdings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ИНЦИПЫ СОЗДАНИЯ ЗАДАНИЙ PISA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етинг</dc:creator>
  <cp:lastModifiedBy>Литвинов Олег Андреевич</cp:lastModifiedBy>
  <cp:revision>724</cp:revision>
  <dcterms:created xsi:type="dcterms:W3CDTF">2020-02-25T09:30:21Z</dcterms:created>
  <dcterms:modified xsi:type="dcterms:W3CDTF">2021-05-11T07:33:54Z</dcterms:modified>
</cp:coreProperties>
</file>